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62" r:id="rId4"/>
    <p:sldId id="263" r:id="rId5"/>
    <p:sldId id="261" r:id="rId6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115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BBA08EF-9339-4C4A-BF03-17CEC4BA89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4DB8C803-1DE2-49A6-ACFB-75B35D6DDC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DE7833C9-4F3D-41BF-9234-9041E3034E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647AA-1A92-432A-AE00-A5E209B17D63}" type="datetimeFigureOut">
              <a:rPr lang="zh-CN" altLang="en-US" smtClean="0"/>
              <a:t>2021/9/24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5FD870E0-D6FA-44EB-89AF-7F92B92ED0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003837F6-E0F9-4B55-83B9-638546BFAD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69707-F7A5-4459-9E68-712872E1A4D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389525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B6B8BBE-24F4-4915-AB08-B979C0B292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A250B756-B9C2-4EA1-B421-4B99A2840CA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76394D56-F54E-4FB3-B575-4614097D2E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647AA-1A92-432A-AE00-A5E209B17D63}" type="datetimeFigureOut">
              <a:rPr lang="zh-CN" altLang="en-US" smtClean="0"/>
              <a:t>2021/9/24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091D726C-4B63-4A94-9915-9B1241FC34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40D00A5-80A7-46A9-BDD7-9552BB919D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69707-F7A5-4459-9E68-712872E1A4D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292305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16474436-1E21-490F-B909-23DE33838C7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4994984D-7F59-49FA-A954-B877D1710A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47263A45-C13B-465E-A034-593D6A69DF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647AA-1A92-432A-AE00-A5E209B17D63}" type="datetimeFigureOut">
              <a:rPr lang="zh-CN" altLang="en-US" smtClean="0"/>
              <a:t>2021/9/24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611464CF-CD58-4182-930F-680BEE8D90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03A6EBC6-24D2-4D06-9BE3-A0225B7324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69707-F7A5-4459-9E68-712872E1A4D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749817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: 圆角 4">
            <a:extLst>
              <a:ext uri="{FF2B5EF4-FFF2-40B4-BE49-F238E27FC236}">
                <a16:creationId xmlns:a16="http://schemas.microsoft.com/office/drawing/2014/main" id="{80E16900-6152-40F4-A4EC-21A054F00C10}"/>
              </a:ext>
            </a:extLst>
          </p:cNvPr>
          <p:cNvSpPr/>
          <p:nvPr userDrawn="1"/>
        </p:nvSpPr>
        <p:spPr bwMode="auto">
          <a:xfrm>
            <a:off x="669925" y="3145028"/>
            <a:ext cx="10850563" cy="2277128"/>
          </a:xfrm>
          <a:prstGeom prst="roundRect">
            <a:avLst>
              <a:gd name="adj" fmla="val 50000"/>
            </a:avLst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zh-CN" altLang="en-US"/>
          </a:p>
        </p:txBody>
      </p:sp>
      <p:grpSp>
        <p:nvGrpSpPr>
          <p:cNvPr id="3" name="组合 2">
            <a:extLst>
              <a:ext uri="{FF2B5EF4-FFF2-40B4-BE49-F238E27FC236}">
                <a16:creationId xmlns:a16="http://schemas.microsoft.com/office/drawing/2014/main" id="{5D4CB405-BD0B-4FCA-B400-8496E791921C}"/>
              </a:ext>
            </a:extLst>
          </p:cNvPr>
          <p:cNvGrpSpPr/>
          <p:nvPr userDrawn="1"/>
        </p:nvGrpSpPr>
        <p:grpSpPr>
          <a:xfrm>
            <a:off x="1635486" y="1435844"/>
            <a:ext cx="2909140" cy="3655960"/>
            <a:chOff x="3567722" y="1725508"/>
            <a:chExt cx="2909140" cy="3655960"/>
          </a:xfrm>
        </p:grpSpPr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B87A026C-80DB-4DE9-A15B-F279F2F42F19}"/>
                </a:ext>
              </a:extLst>
            </p:cNvPr>
            <p:cNvSpPr/>
            <p:nvPr/>
          </p:nvSpPr>
          <p:spPr>
            <a:xfrm>
              <a:off x="5559651" y="2909860"/>
              <a:ext cx="293195" cy="628274"/>
            </a:xfrm>
            <a:custGeom>
              <a:avLst/>
              <a:gdLst>
                <a:gd name="connsiteX0" fmla="*/ 282327 w 315844"/>
                <a:gd name="connsiteY0" fmla="*/ 4937 h 676810"/>
                <a:gd name="connsiteX1" fmla="*/ 0 w 315844"/>
                <a:gd name="connsiteY1" fmla="*/ 606976 h 676810"/>
                <a:gd name="connsiteX2" fmla="*/ 37386 w 315844"/>
                <a:gd name="connsiteY2" fmla="*/ 678525 h 676810"/>
                <a:gd name="connsiteX3" fmla="*/ 122470 w 315844"/>
                <a:gd name="connsiteY3" fmla="*/ 644362 h 676810"/>
                <a:gd name="connsiteX4" fmla="*/ 317779 w 315844"/>
                <a:gd name="connsiteY4" fmla="*/ 66172 h 676810"/>
                <a:gd name="connsiteX5" fmla="*/ 282327 w 315844"/>
                <a:gd name="connsiteY5" fmla="*/ 4937 h 676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5844" h="676810">
                  <a:moveTo>
                    <a:pt x="282327" y="4937"/>
                  </a:moveTo>
                  <a:cubicBezTo>
                    <a:pt x="272658" y="10739"/>
                    <a:pt x="0" y="606976"/>
                    <a:pt x="0" y="606976"/>
                  </a:cubicBezTo>
                  <a:lnTo>
                    <a:pt x="37386" y="678525"/>
                  </a:lnTo>
                  <a:lnTo>
                    <a:pt x="122470" y="644362"/>
                  </a:lnTo>
                  <a:lnTo>
                    <a:pt x="317779" y="66172"/>
                  </a:lnTo>
                  <a:cubicBezTo>
                    <a:pt x="317134" y="66817"/>
                    <a:pt x="323580" y="-21491"/>
                    <a:pt x="282327" y="4937"/>
                  </a:cubicBezTo>
                  <a:close/>
                </a:path>
              </a:pathLst>
            </a:custGeom>
            <a:solidFill>
              <a:srgbClr val="EDB159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6AFD0812-791E-4706-A3CD-55D674C630CD}"/>
                </a:ext>
              </a:extLst>
            </p:cNvPr>
            <p:cNvSpPr/>
            <p:nvPr/>
          </p:nvSpPr>
          <p:spPr>
            <a:xfrm>
              <a:off x="5760700" y="5273764"/>
              <a:ext cx="167540" cy="107704"/>
            </a:xfrm>
            <a:custGeom>
              <a:avLst/>
              <a:gdLst>
                <a:gd name="connsiteX0" fmla="*/ 182416 w 180482"/>
                <a:gd name="connsiteY0" fmla="*/ 13536 h 116024"/>
                <a:gd name="connsiteX1" fmla="*/ 182416 w 180482"/>
                <a:gd name="connsiteY1" fmla="*/ 60591 h 116024"/>
                <a:gd name="connsiteX2" fmla="*/ 60590 w 180482"/>
                <a:gd name="connsiteY2" fmla="*/ 121181 h 116024"/>
                <a:gd name="connsiteX3" fmla="*/ 0 w 180482"/>
                <a:gd name="connsiteY3" fmla="*/ 60591 h 116024"/>
                <a:gd name="connsiteX4" fmla="*/ 60590 w 180482"/>
                <a:gd name="connsiteY4" fmla="*/ 0 h 116024"/>
                <a:gd name="connsiteX5" fmla="*/ 68325 w 180482"/>
                <a:gd name="connsiteY5" fmla="*/ 0 h 116024"/>
                <a:gd name="connsiteX6" fmla="*/ 70259 w 180482"/>
                <a:gd name="connsiteY6" fmla="*/ 13536 h 116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0482" h="116024">
                  <a:moveTo>
                    <a:pt x="182416" y="13536"/>
                  </a:moveTo>
                  <a:lnTo>
                    <a:pt x="182416" y="60591"/>
                  </a:lnTo>
                  <a:lnTo>
                    <a:pt x="60590" y="121181"/>
                  </a:lnTo>
                  <a:lnTo>
                    <a:pt x="0" y="60591"/>
                  </a:lnTo>
                  <a:lnTo>
                    <a:pt x="60590" y="0"/>
                  </a:lnTo>
                  <a:lnTo>
                    <a:pt x="68325" y="0"/>
                  </a:lnTo>
                  <a:lnTo>
                    <a:pt x="70259" y="13536"/>
                  </a:lnTo>
                  <a:close/>
                </a:path>
              </a:pathLst>
            </a:custGeom>
            <a:solidFill>
              <a:srgbClr val="012263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119AA494-2ECE-400C-A10C-D650ECC81278}"/>
                </a:ext>
              </a:extLst>
            </p:cNvPr>
            <p:cNvSpPr/>
            <p:nvPr/>
          </p:nvSpPr>
          <p:spPr>
            <a:xfrm>
              <a:off x="6102361" y="5273764"/>
              <a:ext cx="167540" cy="107704"/>
            </a:xfrm>
            <a:custGeom>
              <a:avLst/>
              <a:gdLst>
                <a:gd name="connsiteX0" fmla="*/ 113446 w 180482"/>
                <a:gd name="connsiteY0" fmla="*/ 0 h 116024"/>
                <a:gd name="connsiteX1" fmla="*/ 121826 w 180482"/>
                <a:gd name="connsiteY1" fmla="*/ 0 h 116024"/>
                <a:gd name="connsiteX2" fmla="*/ 182416 w 180482"/>
                <a:gd name="connsiteY2" fmla="*/ 60591 h 116024"/>
                <a:gd name="connsiteX3" fmla="*/ 121826 w 180482"/>
                <a:gd name="connsiteY3" fmla="*/ 121181 h 116024"/>
                <a:gd name="connsiteX4" fmla="*/ 0 w 180482"/>
                <a:gd name="connsiteY4" fmla="*/ 60591 h 116024"/>
                <a:gd name="connsiteX5" fmla="*/ 0 w 180482"/>
                <a:gd name="connsiteY5" fmla="*/ 13536 h 116024"/>
                <a:gd name="connsiteX6" fmla="*/ 112157 w 180482"/>
                <a:gd name="connsiteY6" fmla="*/ 13536 h 116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0482" h="116024">
                  <a:moveTo>
                    <a:pt x="113446" y="0"/>
                  </a:moveTo>
                  <a:lnTo>
                    <a:pt x="121826" y="0"/>
                  </a:lnTo>
                  <a:lnTo>
                    <a:pt x="182416" y="60591"/>
                  </a:lnTo>
                  <a:lnTo>
                    <a:pt x="121826" y="121181"/>
                  </a:lnTo>
                  <a:lnTo>
                    <a:pt x="0" y="60591"/>
                  </a:lnTo>
                  <a:lnTo>
                    <a:pt x="0" y="13536"/>
                  </a:lnTo>
                  <a:lnTo>
                    <a:pt x="112157" y="13536"/>
                  </a:lnTo>
                  <a:close/>
                </a:path>
              </a:pathLst>
            </a:custGeom>
            <a:solidFill>
              <a:srgbClr val="012263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D7D68D66-B234-4C31-BB6E-5D2E29770C64}"/>
                </a:ext>
              </a:extLst>
            </p:cNvPr>
            <p:cNvSpPr/>
            <p:nvPr/>
          </p:nvSpPr>
          <p:spPr>
            <a:xfrm>
              <a:off x="6079623" y="2774957"/>
              <a:ext cx="394915" cy="1268516"/>
            </a:xfrm>
            <a:custGeom>
              <a:avLst/>
              <a:gdLst>
                <a:gd name="connsiteX0" fmla="*/ 136007 w 425423"/>
                <a:gd name="connsiteY0" fmla="*/ 907000 h 1366512"/>
                <a:gd name="connsiteX1" fmla="*/ 106356 w 425423"/>
                <a:gd name="connsiteY1" fmla="*/ 711048 h 1366512"/>
                <a:gd name="connsiteX2" fmla="*/ 87663 w 425423"/>
                <a:gd name="connsiteY2" fmla="*/ 187003 h 1366512"/>
                <a:gd name="connsiteX3" fmla="*/ 13536 w 425423"/>
                <a:gd name="connsiteY3" fmla="*/ 32948 h 1366512"/>
                <a:gd name="connsiteX4" fmla="*/ 0 w 425423"/>
                <a:gd name="connsiteY4" fmla="*/ 32948 h 1366512"/>
                <a:gd name="connsiteX5" fmla="*/ 3223 w 425423"/>
                <a:gd name="connsiteY5" fmla="*/ 32303 h 1366512"/>
                <a:gd name="connsiteX6" fmla="*/ 5801 w 425423"/>
                <a:gd name="connsiteY6" fmla="*/ 74 h 1366512"/>
                <a:gd name="connsiteX7" fmla="*/ 194664 w 425423"/>
                <a:gd name="connsiteY7" fmla="*/ 85159 h 1366512"/>
                <a:gd name="connsiteX8" fmla="*/ 260411 w 425423"/>
                <a:gd name="connsiteY8" fmla="*/ 214075 h 1366512"/>
                <a:gd name="connsiteX9" fmla="*/ 356453 w 425423"/>
                <a:gd name="connsiteY9" fmla="*/ 592444 h 1366512"/>
                <a:gd name="connsiteX10" fmla="*/ 397707 w 425423"/>
                <a:gd name="connsiteY10" fmla="*/ 847054 h 1366512"/>
                <a:gd name="connsiteX11" fmla="*/ 421556 w 425423"/>
                <a:gd name="connsiteY11" fmla="*/ 1126803 h 1366512"/>
                <a:gd name="connsiteX12" fmla="*/ 424779 w 425423"/>
                <a:gd name="connsiteY12" fmla="*/ 1200285 h 1366512"/>
                <a:gd name="connsiteX13" fmla="*/ 395773 w 425423"/>
                <a:gd name="connsiteY13" fmla="*/ 1371744 h 1366512"/>
                <a:gd name="connsiteX14" fmla="*/ 379658 w 425423"/>
                <a:gd name="connsiteY14" fmla="*/ 1367231 h 1366512"/>
                <a:gd name="connsiteX15" fmla="*/ 277170 w 425423"/>
                <a:gd name="connsiteY15" fmla="*/ 1302129 h 1366512"/>
                <a:gd name="connsiteX16" fmla="*/ 275236 w 425423"/>
                <a:gd name="connsiteY16" fmla="*/ 926982 h 1366512"/>
                <a:gd name="connsiteX17" fmla="*/ 136007 w 425423"/>
                <a:gd name="connsiteY17" fmla="*/ 907000 h 1366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25423" h="1366512">
                  <a:moveTo>
                    <a:pt x="136007" y="907000"/>
                  </a:moveTo>
                  <a:cubicBezTo>
                    <a:pt x="119892" y="825783"/>
                    <a:pt x="107645" y="751656"/>
                    <a:pt x="106356" y="711048"/>
                  </a:cubicBezTo>
                  <a:cubicBezTo>
                    <a:pt x="103133" y="589222"/>
                    <a:pt x="87663" y="187003"/>
                    <a:pt x="87663" y="187003"/>
                  </a:cubicBezTo>
                  <a:lnTo>
                    <a:pt x="13536" y="32948"/>
                  </a:lnTo>
                  <a:lnTo>
                    <a:pt x="0" y="32948"/>
                  </a:lnTo>
                  <a:cubicBezTo>
                    <a:pt x="1289" y="32948"/>
                    <a:pt x="1934" y="32948"/>
                    <a:pt x="3223" y="32303"/>
                  </a:cubicBezTo>
                  <a:cubicBezTo>
                    <a:pt x="0" y="32948"/>
                    <a:pt x="4512" y="2653"/>
                    <a:pt x="5801" y="74"/>
                  </a:cubicBezTo>
                  <a:cubicBezTo>
                    <a:pt x="70259" y="-1860"/>
                    <a:pt x="154055" y="34237"/>
                    <a:pt x="194664" y="85159"/>
                  </a:cubicBezTo>
                  <a:cubicBezTo>
                    <a:pt x="224959" y="122545"/>
                    <a:pt x="243007" y="168955"/>
                    <a:pt x="260411" y="214075"/>
                  </a:cubicBezTo>
                  <a:cubicBezTo>
                    <a:pt x="309399" y="341058"/>
                    <a:pt x="331959" y="459016"/>
                    <a:pt x="356453" y="592444"/>
                  </a:cubicBezTo>
                  <a:cubicBezTo>
                    <a:pt x="371924" y="677529"/>
                    <a:pt x="386749" y="762614"/>
                    <a:pt x="397707" y="847054"/>
                  </a:cubicBezTo>
                  <a:cubicBezTo>
                    <a:pt x="410598" y="940518"/>
                    <a:pt x="418978" y="1033983"/>
                    <a:pt x="421556" y="1126803"/>
                  </a:cubicBezTo>
                  <a:cubicBezTo>
                    <a:pt x="421556" y="1137116"/>
                    <a:pt x="424135" y="1165477"/>
                    <a:pt x="424779" y="1200285"/>
                  </a:cubicBezTo>
                  <a:cubicBezTo>
                    <a:pt x="427357" y="1271833"/>
                    <a:pt x="425424" y="1368521"/>
                    <a:pt x="395773" y="1371744"/>
                  </a:cubicBezTo>
                  <a:cubicBezTo>
                    <a:pt x="389972" y="1372388"/>
                    <a:pt x="384815" y="1369810"/>
                    <a:pt x="379658" y="1367231"/>
                  </a:cubicBezTo>
                  <a:cubicBezTo>
                    <a:pt x="341628" y="1348539"/>
                    <a:pt x="311333" y="1323400"/>
                    <a:pt x="277170" y="1302129"/>
                  </a:cubicBezTo>
                  <a:lnTo>
                    <a:pt x="275236" y="926982"/>
                  </a:lnTo>
                  <a:lnTo>
                    <a:pt x="136007" y="907000"/>
                  </a:lnTo>
                  <a:close/>
                </a:path>
              </a:pathLst>
            </a:custGeom>
            <a:solidFill>
              <a:srgbClr val="EDB159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DC0DF88E-6ED8-46F3-83F6-877BC5459211}"/>
                </a:ext>
              </a:extLst>
            </p:cNvPr>
            <p:cNvSpPr/>
            <p:nvPr/>
          </p:nvSpPr>
          <p:spPr>
            <a:xfrm>
              <a:off x="5570288" y="2778616"/>
              <a:ext cx="430817" cy="1226632"/>
            </a:xfrm>
            <a:custGeom>
              <a:avLst/>
              <a:gdLst>
                <a:gd name="connsiteX0" fmla="*/ 789 w 464098"/>
                <a:gd name="connsiteY0" fmla="*/ 1288518 h 1321391"/>
                <a:gd name="connsiteX1" fmla="*/ 25927 w 464098"/>
                <a:gd name="connsiteY1" fmla="*/ 1049378 h 1321391"/>
                <a:gd name="connsiteX2" fmla="*/ 115524 w 464098"/>
                <a:gd name="connsiteY2" fmla="*/ 578834 h 1321391"/>
                <a:gd name="connsiteX3" fmla="*/ 171603 w 464098"/>
                <a:gd name="connsiteY3" fmla="*/ 404153 h 1321391"/>
                <a:gd name="connsiteX4" fmla="*/ 243151 w 464098"/>
                <a:gd name="connsiteY4" fmla="*/ 192730 h 1321391"/>
                <a:gd name="connsiteX5" fmla="*/ 410098 w 464098"/>
                <a:gd name="connsiteY5" fmla="*/ 12892 h 1321391"/>
                <a:gd name="connsiteX6" fmla="*/ 459086 w 464098"/>
                <a:gd name="connsiteY6" fmla="*/ 0 h 1321391"/>
                <a:gd name="connsiteX7" fmla="*/ 460375 w 464098"/>
                <a:gd name="connsiteY7" fmla="*/ 5801 h 1321391"/>
                <a:gd name="connsiteX8" fmla="*/ 468755 w 464098"/>
                <a:gd name="connsiteY8" fmla="*/ 29651 h 1321391"/>
                <a:gd name="connsiteX9" fmla="*/ 411387 w 464098"/>
                <a:gd name="connsiteY9" fmla="*/ 30295 h 1321391"/>
                <a:gd name="connsiteX10" fmla="*/ 243796 w 464098"/>
                <a:gd name="connsiteY10" fmla="*/ 704527 h 1321391"/>
                <a:gd name="connsiteX11" fmla="*/ 225747 w 464098"/>
                <a:gd name="connsiteY11" fmla="*/ 910793 h 1321391"/>
                <a:gd name="connsiteX12" fmla="*/ 138084 w 464098"/>
                <a:gd name="connsiteY12" fmla="*/ 923685 h 1321391"/>
                <a:gd name="connsiteX13" fmla="*/ 134217 w 464098"/>
                <a:gd name="connsiteY13" fmla="*/ 1255000 h 1321391"/>
                <a:gd name="connsiteX14" fmla="*/ 119391 w 464098"/>
                <a:gd name="connsiteY14" fmla="*/ 1258867 h 1321391"/>
                <a:gd name="connsiteX15" fmla="*/ 45909 w 464098"/>
                <a:gd name="connsiteY15" fmla="*/ 1303344 h 1321391"/>
                <a:gd name="connsiteX16" fmla="*/ 789 w 464098"/>
                <a:gd name="connsiteY16" fmla="*/ 1288518 h 1321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4098" h="1321391">
                  <a:moveTo>
                    <a:pt x="789" y="1288518"/>
                  </a:moveTo>
                  <a:cubicBezTo>
                    <a:pt x="8524" y="1208590"/>
                    <a:pt x="16258" y="1129307"/>
                    <a:pt x="25927" y="1049378"/>
                  </a:cubicBezTo>
                  <a:cubicBezTo>
                    <a:pt x="45265" y="890812"/>
                    <a:pt x="71693" y="732245"/>
                    <a:pt x="115524" y="578834"/>
                  </a:cubicBezTo>
                  <a:cubicBezTo>
                    <a:pt x="132283" y="520177"/>
                    <a:pt x="152265" y="462165"/>
                    <a:pt x="171603" y="404153"/>
                  </a:cubicBezTo>
                  <a:cubicBezTo>
                    <a:pt x="195452" y="333893"/>
                    <a:pt x="219301" y="262989"/>
                    <a:pt x="243151" y="192730"/>
                  </a:cubicBezTo>
                  <a:cubicBezTo>
                    <a:pt x="272802" y="105067"/>
                    <a:pt x="322435" y="43832"/>
                    <a:pt x="410098" y="12892"/>
                  </a:cubicBezTo>
                  <a:cubicBezTo>
                    <a:pt x="425568" y="7735"/>
                    <a:pt x="442327" y="3223"/>
                    <a:pt x="459086" y="0"/>
                  </a:cubicBezTo>
                  <a:cubicBezTo>
                    <a:pt x="459731" y="1934"/>
                    <a:pt x="459731" y="3868"/>
                    <a:pt x="460375" y="5801"/>
                  </a:cubicBezTo>
                  <a:cubicBezTo>
                    <a:pt x="461664" y="14181"/>
                    <a:pt x="463598" y="23849"/>
                    <a:pt x="468755" y="29651"/>
                  </a:cubicBezTo>
                  <a:lnTo>
                    <a:pt x="411387" y="30295"/>
                  </a:lnTo>
                  <a:cubicBezTo>
                    <a:pt x="411387" y="30295"/>
                    <a:pt x="249597" y="605262"/>
                    <a:pt x="243796" y="704527"/>
                  </a:cubicBezTo>
                  <a:cubicBezTo>
                    <a:pt x="241217" y="741913"/>
                    <a:pt x="234127" y="824420"/>
                    <a:pt x="225747" y="910793"/>
                  </a:cubicBezTo>
                  <a:lnTo>
                    <a:pt x="138084" y="923685"/>
                  </a:lnTo>
                  <a:lnTo>
                    <a:pt x="134217" y="1255000"/>
                  </a:lnTo>
                  <a:cubicBezTo>
                    <a:pt x="129060" y="1256289"/>
                    <a:pt x="124548" y="1257578"/>
                    <a:pt x="119391" y="1258867"/>
                  </a:cubicBezTo>
                  <a:cubicBezTo>
                    <a:pt x="91674" y="1266602"/>
                    <a:pt x="69114" y="1287229"/>
                    <a:pt x="45909" y="1303344"/>
                  </a:cubicBezTo>
                  <a:cubicBezTo>
                    <a:pt x="11102" y="1327838"/>
                    <a:pt x="-3724" y="1337506"/>
                    <a:pt x="789" y="1288518"/>
                  </a:cubicBezTo>
                  <a:close/>
                </a:path>
              </a:pathLst>
            </a:custGeom>
            <a:solidFill>
              <a:srgbClr val="EDB159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24AC3CF7-58AF-4C38-9D65-7A21050843F8}"/>
                </a:ext>
              </a:extLst>
            </p:cNvPr>
            <p:cNvSpPr/>
            <p:nvPr/>
          </p:nvSpPr>
          <p:spPr>
            <a:xfrm>
              <a:off x="5695478" y="3624094"/>
              <a:ext cx="215408" cy="317129"/>
            </a:xfrm>
            <a:custGeom>
              <a:avLst/>
              <a:gdLst>
                <a:gd name="connsiteX0" fmla="*/ 90886 w 232049"/>
                <a:gd name="connsiteY0" fmla="*/ 0 h 341628"/>
                <a:gd name="connsiteX1" fmla="*/ 62524 w 232049"/>
                <a:gd name="connsiteY1" fmla="*/ 284905 h 341628"/>
                <a:gd name="connsiteX2" fmla="*/ 236561 w 232049"/>
                <a:gd name="connsiteY2" fmla="*/ 294574 h 341628"/>
                <a:gd name="connsiteX3" fmla="*/ 214001 w 232049"/>
                <a:gd name="connsiteY3" fmla="*/ 293929 h 341628"/>
                <a:gd name="connsiteX4" fmla="*/ 0 w 232049"/>
                <a:gd name="connsiteY4" fmla="*/ 344207 h 341628"/>
                <a:gd name="connsiteX5" fmla="*/ 3867 w 232049"/>
                <a:gd name="connsiteY5" fmla="*/ 12892 h 341628"/>
                <a:gd name="connsiteX6" fmla="*/ 90886 w 232049"/>
                <a:gd name="connsiteY6" fmla="*/ 0 h 341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2049" h="341628">
                  <a:moveTo>
                    <a:pt x="90886" y="0"/>
                  </a:moveTo>
                  <a:cubicBezTo>
                    <a:pt x="77350" y="137296"/>
                    <a:pt x="62524" y="284905"/>
                    <a:pt x="62524" y="284905"/>
                  </a:cubicBezTo>
                  <a:cubicBezTo>
                    <a:pt x="62524" y="284905"/>
                    <a:pt x="133428" y="286839"/>
                    <a:pt x="236561" y="294574"/>
                  </a:cubicBezTo>
                  <a:cubicBezTo>
                    <a:pt x="228826" y="294574"/>
                    <a:pt x="221091" y="293929"/>
                    <a:pt x="214001" y="293929"/>
                  </a:cubicBezTo>
                  <a:cubicBezTo>
                    <a:pt x="142452" y="293285"/>
                    <a:pt x="68325" y="324225"/>
                    <a:pt x="0" y="344207"/>
                  </a:cubicBezTo>
                  <a:lnTo>
                    <a:pt x="3867" y="12892"/>
                  </a:lnTo>
                  <a:lnTo>
                    <a:pt x="90886" y="0"/>
                  </a:lnTo>
                  <a:close/>
                </a:path>
              </a:pathLst>
            </a:custGeom>
            <a:solidFill>
              <a:srgbClr val="0137A3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A69185AD-ABC3-4DD3-891F-929DA0927B6B}"/>
                </a:ext>
              </a:extLst>
            </p:cNvPr>
            <p:cNvSpPr/>
            <p:nvPr/>
          </p:nvSpPr>
          <p:spPr>
            <a:xfrm>
              <a:off x="6205279" y="3616914"/>
              <a:ext cx="131638" cy="364998"/>
            </a:xfrm>
            <a:custGeom>
              <a:avLst/>
              <a:gdLst>
                <a:gd name="connsiteX0" fmla="*/ 20627 w 141807"/>
                <a:gd name="connsiteY0" fmla="*/ 344206 h 393194"/>
                <a:gd name="connsiteX1" fmla="*/ 75416 w 141807"/>
                <a:gd name="connsiteY1" fmla="*/ 337761 h 393194"/>
                <a:gd name="connsiteX2" fmla="*/ 0 w 141807"/>
                <a:gd name="connsiteY2" fmla="*/ 0 h 393194"/>
                <a:gd name="connsiteX3" fmla="*/ 139874 w 141807"/>
                <a:gd name="connsiteY3" fmla="*/ 20626 h 393194"/>
                <a:gd name="connsiteX4" fmla="*/ 141808 w 141807"/>
                <a:gd name="connsiteY4" fmla="*/ 395773 h 393194"/>
                <a:gd name="connsiteX5" fmla="*/ 104422 w 141807"/>
                <a:gd name="connsiteY5" fmla="*/ 374502 h 393194"/>
                <a:gd name="connsiteX6" fmla="*/ 20627 w 141807"/>
                <a:gd name="connsiteY6" fmla="*/ 344206 h 393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1807" h="393194">
                  <a:moveTo>
                    <a:pt x="20627" y="344206"/>
                  </a:moveTo>
                  <a:cubicBezTo>
                    <a:pt x="69615" y="346785"/>
                    <a:pt x="75416" y="337761"/>
                    <a:pt x="75416" y="337761"/>
                  </a:cubicBezTo>
                  <a:cubicBezTo>
                    <a:pt x="75416" y="337761"/>
                    <a:pt x="30940" y="157278"/>
                    <a:pt x="0" y="0"/>
                  </a:cubicBezTo>
                  <a:lnTo>
                    <a:pt x="139874" y="20626"/>
                  </a:lnTo>
                  <a:lnTo>
                    <a:pt x="141808" y="395773"/>
                  </a:lnTo>
                  <a:cubicBezTo>
                    <a:pt x="130206" y="388038"/>
                    <a:pt x="117958" y="380948"/>
                    <a:pt x="104422" y="374502"/>
                  </a:cubicBezTo>
                  <a:cubicBezTo>
                    <a:pt x="78639" y="361610"/>
                    <a:pt x="50277" y="351941"/>
                    <a:pt x="20627" y="344206"/>
                  </a:cubicBezTo>
                  <a:close/>
                </a:path>
              </a:pathLst>
            </a:custGeom>
            <a:solidFill>
              <a:srgbClr val="EDB159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77752A65-4F33-4148-BB2F-CC13F9DD72CF}"/>
                </a:ext>
              </a:extLst>
            </p:cNvPr>
            <p:cNvSpPr/>
            <p:nvPr/>
          </p:nvSpPr>
          <p:spPr>
            <a:xfrm>
              <a:off x="5689494" y="3897534"/>
              <a:ext cx="646225" cy="1400154"/>
            </a:xfrm>
            <a:custGeom>
              <a:avLst/>
              <a:gdLst>
                <a:gd name="connsiteX0" fmla="*/ 5157 w 696147"/>
                <a:gd name="connsiteY0" fmla="*/ 50287 h 1508320"/>
                <a:gd name="connsiteX1" fmla="*/ 219158 w 696147"/>
                <a:gd name="connsiteY1" fmla="*/ 10 h 1508320"/>
                <a:gd name="connsiteX2" fmla="*/ 241718 w 696147"/>
                <a:gd name="connsiteY2" fmla="*/ 655 h 1508320"/>
                <a:gd name="connsiteX3" fmla="*/ 261055 w 696147"/>
                <a:gd name="connsiteY3" fmla="*/ 1944 h 1508320"/>
                <a:gd name="connsiteX4" fmla="*/ 418978 w 696147"/>
                <a:gd name="connsiteY4" fmla="*/ 18058 h 1508320"/>
                <a:gd name="connsiteX5" fmla="*/ 427357 w 696147"/>
                <a:gd name="connsiteY5" fmla="*/ 19347 h 1508320"/>
                <a:gd name="connsiteX6" fmla="*/ 576256 w 696147"/>
                <a:gd name="connsiteY6" fmla="*/ 42552 h 1508320"/>
                <a:gd name="connsiteX7" fmla="*/ 660052 w 696147"/>
                <a:gd name="connsiteY7" fmla="*/ 72848 h 1508320"/>
                <a:gd name="connsiteX8" fmla="*/ 697437 w 696147"/>
                <a:gd name="connsiteY8" fmla="*/ 94119 h 1508320"/>
                <a:gd name="connsiteX9" fmla="*/ 698082 w 696147"/>
                <a:gd name="connsiteY9" fmla="*/ 172113 h 1508320"/>
                <a:gd name="connsiteX10" fmla="*/ 561430 w 696147"/>
                <a:gd name="connsiteY10" fmla="*/ 1498017 h 1508320"/>
                <a:gd name="connsiteX11" fmla="*/ 449273 w 696147"/>
                <a:gd name="connsiteY11" fmla="*/ 1498017 h 1508320"/>
                <a:gd name="connsiteX12" fmla="*/ 449273 w 696147"/>
                <a:gd name="connsiteY12" fmla="*/ 1511553 h 1508320"/>
                <a:gd name="connsiteX13" fmla="*/ 448629 w 696147"/>
                <a:gd name="connsiteY13" fmla="*/ 1511553 h 1508320"/>
                <a:gd name="connsiteX14" fmla="*/ 324869 w 696147"/>
                <a:gd name="connsiteY14" fmla="*/ 622031 h 1508320"/>
                <a:gd name="connsiteX15" fmla="*/ 324224 w 696147"/>
                <a:gd name="connsiteY15" fmla="*/ 616874 h 1508320"/>
                <a:gd name="connsiteX16" fmla="*/ 256543 w 696147"/>
                <a:gd name="connsiteY16" fmla="*/ 1510909 h 1508320"/>
                <a:gd name="connsiteX17" fmla="*/ 255899 w 696147"/>
                <a:gd name="connsiteY17" fmla="*/ 1510909 h 1508320"/>
                <a:gd name="connsiteX18" fmla="*/ 255899 w 696147"/>
                <a:gd name="connsiteY18" fmla="*/ 1497372 h 1508320"/>
                <a:gd name="connsiteX19" fmla="*/ 143097 w 696147"/>
                <a:gd name="connsiteY19" fmla="*/ 1497372 h 1508320"/>
                <a:gd name="connsiteX20" fmla="*/ 0 w 696147"/>
                <a:gd name="connsiteY20" fmla="*/ 501494 h 1508320"/>
                <a:gd name="connsiteX21" fmla="*/ 5157 w 696147"/>
                <a:gd name="connsiteY21" fmla="*/ 50287 h 1508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696147" h="1508320">
                  <a:moveTo>
                    <a:pt x="5157" y="50287"/>
                  </a:moveTo>
                  <a:cubicBezTo>
                    <a:pt x="73482" y="30305"/>
                    <a:pt x="147609" y="-635"/>
                    <a:pt x="219158" y="10"/>
                  </a:cubicBezTo>
                  <a:cubicBezTo>
                    <a:pt x="226893" y="10"/>
                    <a:pt x="234628" y="10"/>
                    <a:pt x="241718" y="655"/>
                  </a:cubicBezTo>
                  <a:cubicBezTo>
                    <a:pt x="248164" y="1299"/>
                    <a:pt x="254610" y="1944"/>
                    <a:pt x="261055" y="1944"/>
                  </a:cubicBezTo>
                  <a:cubicBezTo>
                    <a:pt x="308755" y="5811"/>
                    <a:pt x="362899" y="10968"/>
                    <a:pt x="418978" y="18058"/>
                  </a:cubicBezTo>
                  <a:cubicBezTo>
                    <a:pt x="421556" y="18703"/>
                    <a:pt x="424779" y="18703"/>
                    <a:pt x="427357" y="19347"/>
                  </a:cubicBezTo>
                  <a:cubicBezTo>
                    <a:pt x="498906" y="34817"/>
                    <a:pt x="545961" y="41263"/>
                    <a:pt x="576256" y="42552"/>
                  </a:cubicBezTo>
                  <a:cubicBezTo>
                    <a:pt x="605262" y="50287"/>
                    <a:pt x="633623" y="59956"/>
                    <a:pt x="660052" y="72848"/>
                  </a:cubicBezTo>
                  <a:cubicBezTo>
                    <a:pt x="673588" y="79293"/>
                    <a:pt x="685835" y="86384"/>
                    <a:pt x="697437" y="94119"/>
                  </a:cubicBezTo>
                  <a:lnTo>
                    <a:pt x="698082" y="172113"/>
                  </a:lnTo>
                  <a:lnTo>
                    <a:pt x="561430" y="1498017"/>
                  </a:lnTo>
                  <a:lnTo>
                    <a:pt x="449273" y="1498017"/>
                  </a:lnTo>
                  <a:lnTo>
                    <a:pt x="449273" y="1511553"/>
                  </a:lnTo>
                  <a:lnTo>
                    <a:pt x="448629" y="1511553"/>
                  </a:lnTo>
                  <a:lnTo>
                    <a:pt x="324869" y="622031"/>
                  </a:lnTo>
                  <a:lnTo>
                    <a:pt x="324224" y="616874"/>
                  </a:lnTo>
                  <a:lnTo>
                    <a:pt x="256543" y="1510909"/>
                  </a:lnTo>
                  <a:lnTo>
                    <a:pt x="255899" y="1510909"/>
                  </a:lnTo>
                  <a:lnTo>
                    <a:pt x="255899" y="1497372"/>
                  </a:lnTo>
                  <a:lnTo>
                    <a:pt x="143097" y="1497372"/>
                  </a:lnTo>
                  <a:lnTo>
                    <a:pt x="0" y="501494"/>
                  </a:lnTo>
                  <a:lnTo>
                    <a:pt x="5157" y="50287"/>
                  </a:lnTo>
                  <a:close/>
                </a:path>
              </a:pathLst>
            </a:custGeom>
            <a:solidFill>
              <a:srgbClr val="0137A3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E5440BB5-6684-44B8-B962-D0A9BA8D8D16}"/>
                </a:ext>
              </a:extLst>
            </p:cNvPr>
            <p:cNvSpPr/>
            <p:nvPr/>
          </p:nvSpPr>
          <p:spPr>
            <a:xfrm>
              <a:off x="5752920" y="2805356"/>
              <a:ext cx="520571" cy="1130895"/>
            </a:xfrm>
            <a:custGeom>
              <a:avLst/>
              <a:gdLst>
                <a:gd name="connsiteX0" fmla="*/ 0 w 560785"/>
                <a:gd name="connsiteY0" fmla="*/ 1167537 h 1218258"/>
                <a:gd name="connsiteX1" fmla="*/ 174037 w 560785"/>
                <a:gd name="connsiteY1" fmla="*/ 1177206 h 1218258"/>
                <a:gd name="connsiteX2" fmla="*/ 193374 w 560785"/>
                <a:gd name="connsiteY2" fmla="*/ 1178495 h 1218258"/>
                <a:gd name="connsiteX3" fmla="*/ 351297 w 560785"/>
                <a:gd name="connsiteY3" fmla="*/ 1194609 h 1218258"/>
                <a:gd name="connsiteX4" fmla="*/ 359677 w 560785"/>
                <a:gd name="connsiteY4" fmla="*/ 1195899 h 1218258"/>
                <a:gd name="connsiteX5" fmla="*/ 508575 w 560785"/>
                <a:gd name="connsiteY5" fmla="*/ 1219104 h 1218258"/>
                <a:gd name="connsiteX6" fmla="*/ 563364 w 560785"/>
                <a:gd name="connsiteY6" fmla="*/ 1212658 h 1218258"/>
                <a:gd name="connsiteX7" fmla="*/ 487948 w 560785"/>
                <a:gd name="connsiteY7" fmla="*/ 874897 h 1218258"/>
                <a:gd name="connsiteX8" fmla="*/ 458298 w 560785"/>
                <a:gd name="connsiteY8" fmla="*/ 678944 h 1218258"/>
                <a:gd name="connsiteX9" fmla="*/ 446695 w 560785"/>
                <a:gd name="connsiteY9" fmla="*/ 296708 h 1218258"/>
                <a:gd name="connsiteX10" fmla="*/ 440249 w 560785"/>
                <a:gd name="connsiteY10" fmla="*/ 105911 h 1218258"/>
                <a:gd name="connsiteX11" fmla="*/ 420912 w 560785"/>
                <a:gd name="connsiteY11" fmla="*/ 16959 h 1218258"/>
                <a:gd name="connsiteX12" fmla="*/ 301020 w 560785"/>
                <a:gd name="connsiteY12" fmla="*/ 7291 h 1218258"/>
                <a:gd name="connsiteX13" fmla="*/ 206266 w 560785"/>
                <a:gd name="connsiteY13" fmla="*/ 23405 h 1218258"/>
                <a:gd name="connsiteX14" fmla="*/ 184995 w 560785"/>
                <a:gd name="connsiteY14" fmla="*/ 107201 h 1218258"/>
                <a:gd name="connsiteX15" fmla="*/ 128916 w 560785"/>
                <a:gd name="connsiteY15" fmla="*/ 314756 h 1218258"/>
                <a:gd name="connsiteX16" fmla="*/ 45766 w 560785"/>
                <a:gd name="connsiteY16" fmla="*/ 677011 h 1218258"/>
                <a:gd name="connsiteX17" fmla="*/ 27717 w 560785"/>
                <a:gd name="connsiteY17" fmla="*/ 883277 h 1218258"/>
                <a:gd name="connsiteX18" fmla="*/ 0 w 560785"/>
                <a:gd name="connsiteY18" fmla="*/ 1167537 h 1218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60785" h="1218258">
                  <a:moveTo>
                    <a:pt x="0" y="1167537"/>
                  </a:moveTo>
                  <a:cubicBezTo>
                    <a:pt x="0" y="1167537"/>
                    <a:pt x="70904" y="1169471"/>
                    <a:pt x="174037" y="1177206"/>
                  </a:cubicBezTo>
                  <a:cubicBezTo>
                    <a:pt x="180483" y="1177850"/>
                    <a:pt x="186929" y="1178495"/>
                    <a:pt x="193374" y="1178495"/>
                  </a:cubicBezTo>
                  <a:cubicBezTo>
                    <a:pt x="241074" y="1182362"/>
                    <a:pt x="295219" y="1187519"/>
                    <a:pt x="351297" y="1194609"/>
                  </a:cubicBezTo>
                  <a:cubicBezTo>
                    <a:pt x="353875" y="1195254"/>
                    <a:pt x="357098" y="1195254"/>
                    <a:pt x="359677" y="1195899"/>
                  </a:cubicBezTo>
                  <a:cubicBezTo>
                    <a:pt x="431225" y="1211369"/>
                    <a:pt x="478280" y="1217814"/>
                    <a:pt x="508575" y="1219104"/>
                  </a:cubicBezTo>
                  <a:cubicBezTo>
                    <a:pt x="557563" y="1221682"/>
                    <a:pt x="563364" y="1212658"/>
                    <a:pt x="563364" y="1212658"/>
                  </a:cubicBezTo>
                  <a:cubicBezTo>
                    <a:pt x="563364" y="1212658"/>
                    <a:pt x="518888" y="1032175"/>
                    <a:pt x="487948" y="874897"/>
                  </a:cubicBezTo>
                  <a:cubicBezTo>
                    <a:pt x="471834" y="793680"/>
                    <a:pt x="459587" y="719553"/>
                    <a:pt x="458298" y="678944"/>
                  </a:cubicBezTo>
                  <a:cubicBezTo>
                    <a:pt x="453785" y="551317"/>
                    <a:pt x="450563" y="423690"/>
                    <a:pt x="446695" y="296708"/>
                  </a:cubicBezTo>
                  <a:cubicBezTo>
                    <a:pt x="444761" y="232894"/>
                    <a:pt x="442828" y="169080"/>
                    <a:pt x="440249" y="105911"/>
                  </a:cubicBezTo>
                  <a:cubicBezTo>
                    <a:pt x="438960" y="77550"/>
                    <a:pt x="444117" y="38230"/>
                    <a:pt x="420912" y="16959"/>
                  </a:cubicBezTo>
                  <a:cubicBezTo>
                    <a:pt x="386104" y="-15270"/>
                    <a:pt x="341628" y="8580"/>
                    <a:pt x="301020" y="7291"/>
                  </a:cubicBezTo>
                  <a:cubicBezTo>
                    <a:pt x="270724" y="6001"/>
                    <a:pt x="226248" y="-6890"/>
                    <a:pt x="206266" y="23405"/>
                  </a:cubicBezTo>
                  <a:cubicBezTo>
                    <a:pt x="194019" y="42098"/>
                    <a:pt x="191441" y="83996"/>
                    <a:pt x="184995" y="107201"/>
                  </a:cubicBezTo>
                  <a:cubicBezTo>
                    <a:pt x="166302" y="176171"/>
                    <a:pt x="147609" y="245141"/>
                    <a:pt x="128916" y="314756"/>
                  </a:cubicBezTo>
                  <a:cubicBezTo>
                    <a:pt x="98621" y="430781"/>
                    <a:pt x="53501" y="555829"/>
                    <a:pt x="45766" y="677011"/>
                  </a:cubicBezTo>
                  <a:cubicBezTo>
                    <a:pt x="43187" y="714396"/>
                    <a:pt x="36097" y="796903"/>
                    <a:pt x="27717" y="883277"/>
                  </a:cubicBezTo>
                  <a:cubicBezTo>
                    <a:pt x="15470" y="1019283"/>
                    <a:pt x="0" y="1167537"/>
                    <a:pt x="0" y="1167537"/>
                  </a:cubicBezTo>
                  <a:close/>
                </a:path>
              </a:pathLst>
            </a:custGeom>
            <a:solidFill>
              <a:schemeClr val="bg1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0DAEE7C5-5654-4F57-A3B8-F86EFB717503}"/>
                </a:ext>
              </a:extLst>
            </p:cNvPr>
            <p:cNvSpPr/>
            <p:nvPr/>
          </p:nvSpPr>
          <p:spPr>
            <a:xfrm>
              <a:off x="5850244" y="2394954"/>
              <a:ext cx="101721" cy="191474"/>
            </a:xfrm>
            <a:custGeom>
              <a:avLst/>
              <a:gdLst>
                <a:gd name="connsiteX0" fmla="*/ 63394 w 109578"/>
                <a:gd name="connsiteY0" fmla="*/ 76184 h 206266"/>
                <a:gd name="connsiteX1" fmla="*/ 43411 w 109578"/>
                <a:gd name="connsiteY1" fmla="*/ 170293 h 206266"/>
                <a:gd name="connsiteX2" fmla="*/ 36966 w 109578"/>
                <a:gd name="connsiteY2" fmla="*/ 194142 h 206266"/>
                <a:gd name="connsiteX3" fmla="*/ 31165 w 109578"/>
                <a:gd name="connsiteY3" fmla="*/ 204456 h 206266"/>
                <a:gd name="connsiteX4" fmla="*/ 3448 w 109578"/>
                <a:gd name="connsiteY4" fmla="*/ 163847 h 206266"/>
                <a:gd name="connsiteX5" fmla="*/ 225 w 109578"/>
                <a:gd name="connsiteY5" fmla="*/ 98744 h 206266"/>
                <a:gd name="connsiteX6" fmla="*/ 15050 w 109578"/>
                <a:gd name="connsiteY6" fmla="*/ 45244 h 206266"/>
                <a:gd name="connsiteX7" fmla="*/ 40188 w 109578"/>
                <a:gd name="connsiteY7" fmla="*/ 23973 h 206266"/>
                <a:gd name="connsiteX8" fmla="*/ 82731 w 109578"/>
                <a:gd name="connsiteY8" fmla="*/ 2057 h 206266"/>
                <a:gd name="connsiteX9" fmla="*/ 103358 w 109578"/>
                <a:gd name="connsiteY9" fmla="*/ 24617 h 206266"/>
                <a:gd name="connsiteX10" fmla="*/ 63394 w 109578"/>
                <a:gd name="connsiteY10" fmla="*/ 76184 h 206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9578" h="206266">
                  <a:moveTo>
                    <a:pt x="63394" y="76184"/>
                  </a:moveTo>
                  <a:cubicBezTo>
                    <a:pt x="49213" y="105190"/>
                    <a:pt x="42767" y="138064"/>
                    <a:pt x="43411" y="170293"/>
                  </a:cubicBezTo>
                  <a:cubicBezTo>
                    <a:pt x="43411" y="178672"/>
                    <a:pt x="43411" y="188986"/>
                    <a:pt x="36966" y="194142"/>
                  </a:cubicBezTo>
                  <a:cubicBezTo>
                    <a:pt x="29875" y="199944"/>
                    <a:pt x="36966" y="211546"/>
                    <a:pt x="31165" y="204456"/>
                  </a:cubicBezTo>
                  <a:cubicBezTo>
                    <a:pt x="25363" y="197365"/>
                    <a:pt x="4736" y="172871"/>
                    <a:pt x="3448" y="163847"/>
                  </a:cubicBezTo>
                  <a:cubicBezTo>
                    <a:pt x="225" y="142576"/>
                    <a:pt x="-420" y="120660"/>
                    <a:pt x="225" y="98744"/>
                  </a:cubicBezTo>
                  <a:cubicBezTo>
                    <a:pt x="869" y="80051"/>
                    <a:pt x="4092" y="60069"/>
                    <a:pt x="15050" y="45244"/>
                  </a:cubicBezTo>
                  <a:cubicBezTo>
                    <a:pt x="21496" y="36220"/>
                    <a:pt x="31165" y="29774"/>
                    <a:pt x="40188" y="23973"/>
                  </a:cubicBezTo>
                  <a:cubicBezTo>
                    <a:pt x="53080" y="14949"/>
                    <a:pt x="67261" y="5925"/>
                    <a:pt x="82731" y="2057"/>
                  </a:cubicBezTo>
                  <a:cubicBezTo>
                    <a:pt x="109159" y="-4389"/>
                    <a:pt x="126563" y="4635"/>
                    <a:pt x="103358" y="24617"/>
                  </a:cubicBezTo>
                  <a:cubicBezTo>
                    <a:pt x="86598" y="40087"/>
                    <a:pt x="73062" y="56202"/>
                    <a:pt x="63394" y="76184"/>
                  </a:cubicBezTo>
                  <a:close/>
                </a:path>
              </a:pathLst>
            </a:custGeom>
            <a:solidFill>
              <a:srgbClr val="012263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0EAA9C9B-63EA-4C9F-990E-23776DC03E5F}"/>
                </a:ext>
              </a:extLst>
            </p:cNvPr>
            <p:cNvSpPr/>
            <p:nvPr/>
          </p:nvSpPr>
          <p:spPr>
            <a:xfrm>
              <a:off x="5873803" y="2396938"/>
              <a:ext cx="281227" cy="454751"/>
            </a:xfrm>
            <a:custGeom>
              <a:avLst/>
              <a:gdLst>
                <a:gd name="connsiteX0" fmla="*/ 226877 w 302953"/>
                <a:gd name="connsiteY0" fmla="*/ 433079 h 489881"/>
                <a:gd name="connsiteX1" fmla="*/ 219142 w 302953"/>
                <a:gd name="connsiteY1" fmla="*/ 462730 h 489881"/>
                <a:gd name="connsiteX2" fmla="*/ 195293 w 302953"/>
                <a:gd name="connsiteY2" fmla="*/ 482712 h 489881"/>
                <a:gd name="connsiteX3" fmla="*/ 159196 w 302953"/>
                <a:gd name="connsiteY3" fmla="*/ 494959 h 489881"/>
                <a:gd name="connsiteX4" fmla="*/ 124389 w 302953"/>
                <a:gd name="connsiteY4" fmla="*/ 480778 h 489881"/>
                <a:gd name="connsiteX5" fmla="*/ 97961 w 302953"/>
                <a:gd name="connsiteY5" fmla="*/ 351217 h 489881"/>
                <a:gd name="connsiteX6" fmla="*/ 14166 w 302953"/>
                <a:gd name="connsiteY6" fmla="*/ 304807 h 489881"/>
                <a:gd name="connsiteX7" fmla="*/ 9009 w 302953"/>
                <a:gd name="connsiteY7" fmla="*/ 270644 h 489881"/>
                <a:gd name="connsiteX8" fmla="*/ 630 w 302953"/>
                <a:gd name="connsiteY8" fmla="*/ 127547 h 489881"/>
                <a:gd name="connsiteX9" fmla="*/ 3852 w 302953"/>
                <a:gd name="connsiteY9" fmla="*/ 78559 h 489881"/>
                <a:gd name="connsiteX10" fmla="*/ 59931 w 302953"/>
                <a:gd name="connsiteY10" fmla="*/ 22480 h 489881"/>
                <a:gd name="connsiteX11" fmla="*/ 252016 w 302953"/>
                <a:gd name="connsiteY11" fmla="*/ 24414 h 489881"/>
                <a:gd name="connsiteX12" fmla="*/ 292625 w 302953"/>
                <a:gd name="connsiteY12" fmla="*/ 61800 h 489881"/>
                <a:gd name="connsiteX13" fmla="*/ 306806 w 302953"/>
                <a:gd name="connsiteY13" fmla="*/ 150108 h 489881"/>
                <a:gd name="connsiteX14" fmla="*/ 305516 w 302953"/>
                <a:gd name="connsiteY14" fmla="*/ 233903 h 489881"/>
                <a:gd name="connsiteX15" fmla="*/ 278444 w 302953"/>
                <a:gd name="connsiteY15" fmla="*/ 321566 h 489881"/>
                <a:gd name="connsiteX16" fmla="*/ 238480 w 302953"/>
                <a:gd name="connsiteY16" fmla="*/ 346060 h 489881"/>
                <a:gd name="connsiteX17" fmla="*/ 226877 w 302953"/>
                <a:gd name="connsiteY17" fmla="*/ 433079 h 489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2953" h="489881">
                  <a:moveTo>
                    <a:pt x="226877" y="433079"/>
                  </a:moveTo>
                  <a:cubicBezTo>
                    <a:pt x="226233" y="443392"/>
                    <a:pt x="224299" y="453705"/>
                    <a:pt x="219142" y="462730"/>
                  </a:cubicBezTo>
                  <a:cubicBezTo>
                    <a:pt x="213341" y="471754"/>
                    <a:pt x="204962" y="477555"/>
                    <a:pt x="195293" y="482712"/>
                  </a:cubicBezTo>
                  <a:cubicBezTo>
                    <a:pt x="183690" y="489157"/>
                    <a:pt x="172088" y="494314"/>
                    <a:pt x="159196" y="494959"/>
                  </a:cubicBezTo>
                  <a:cubicBezTo>
                    <a:pt x="146305" y="495603"/>
                    <a:pt x="132769" y="491091"/>
                    <a:pt x="124389" y="480778"/>
                  </a:cubicBezTo>
                  <a:cubicBezTo>
                    <a:pt x="101184" y="451127"/>
                    <a:pt x="101184" y="387314"/>
                    <a:pt x="97961" y="351217"/>
                  </a:cubicBezTo>
                  <a:cubicBezTo>
                    <a:pt x="65088" y="347349"/>
                    <a:pt x="27057" y="338325"/>
                    <a:pt x="14166" y="304807"/>
                  </a:cubicBezTo>
                  <a:cubicBezTo>
                    <a:pt x="10298" y="293849"/>
                    <a:pt x="9653" y="282247"/>
                    <a:pt x="9009" y="270644"/>
                  </a:cubicBezTo>
                  <a:cubicBezTo>
                    <a:pt x="6431" y="222945"/>
                    <a:pt x="3208" y="175246"/>
                    <a:pt x="630" y="127547"/>
                  </a:cubicBezTo>
                  <a:cubicBezTo>
                    <a:pt x="-15" y="110788"/>
                    <a:pt x="-1305" y="94029"/>
                    <a:pt x="3852" y="78559"/>
                  </a:cubicBezTo>
                  <a:cubicBezTo>
                    <a:pt x="12232" y="51487"/>
                    <a:pt x="36082" y="34083"/>
                    <a:pt x="59931" y="22480"/>
                  </a:cubicBezTo>
                  <a:cubicBezTo>
                    <a:pt x="120522" y="-6526"/>
                    <a:pt x="192715" y="-9104"/>
                    <a:pt x="252016" y="24414"/>
                  </a:cubicBezTo>
                  <a:cubicBezTo>
                    <a:pt x="267486" y="33438"/>
                    <a:pt x="282956" y="45041"/>
                    <a:pt x="292625" y="61800"/>
                  </a:cubicBezTo>
                  <a:cubicBezTo>
                    <a:pt x="307450" y="87583"/>
                    <a:pt x="307450" y="119812"/>
                    <a:pt x="306806" y="150108"/>
                  </a:cubicBezTo>
                  <a:cubicBezTo>
                    <a:pt x="306161" y="177825"/>
                    <a:pt x="305516" y="206186"/>
                    <a:pt x="305516" y="233903"/>
                  </a:cubicBezTo>
                  <a:cubicBezTo>
                    <a:pt x="304872" y="266132"/>
                    <a:pt x="302294" y="303518"/>
                    <a:pt x="278444" y="321566"/>
                  </a:cubicBezTo>
                  <a:cubicBezTo>
                    <a:pt x="266197" y="331235"/>
                    <a:pt x="249438" y="333813"/>
                    <a:pt x="238480" y="346060"/>
                  </a:cubicBezTo>
                  <a:cubicBezTo>
                    <a:pt x="217209" y="369265"/>
                    <a:pt x="228167" y="403428"/>
                    <a:pt x="226877" y="433079"/>
                  </a:cubicBezTo>
                  <a:close/>
                </a:path>
              </a:pathLst>
            </a:custGeom>
            <a:solidFill>
              <a:srgbClr val="CC937A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4CFEA126-26CA-4279-8FBB-DC2731C7963C}"/>
                </a:ext>
              </a:extLst>
            </p:cNvPr>
            <p:cNvSpPr/>
            <p:nvPr/>
          </p:nvSpPr>
          <p:spPr>
            <a:xfrm>
              <a:off x="5870198" y="2607853"/>
              <a:ext cx="293195" cy="143606"/>
            </a:xfrm>
            <a:custGeom>
              <a:avLst/>
              <a:gdLst>
                <a:gd name="connsiteX0" fmla="*/ 5801 w 315844"/>
                <a:gd name="connsiteY0" fmla="*/ 71797 h 154699"/>
                <a:gd name="connsiteX1" fmla="*/ 53500 w 315844"/>
                <a:gd name="connsiteY1" fmla="*/ 143990 h 154699"/>
                <a:gd name="connsiteX2" fmla="*/ 146964 w 315844"/>
                <a:gd name="connsiteY2" fmla="*/ 160105 h 154699"/>
                <a:gd name="connsiteX3" fmla="*/ 199175 w 315844"/>
                <a:gd name="connsiteY3" fmla="*/ 158815 h 154699"/>
                <a:gd name="connsiteX4" fmla="*/ 307465 w 315844"/>
                <a:gd name="connsiteY4" fmla="*/ 100803 h 154699"/>
                <a:gd name="connsiteX5" fmla="*/ 315845 w 315844"/>
                <a:gd name="connsiteY5" fmla="*/ 27965 h 154699"/>
                <a:gd name="connsiteX6" fmla="*/ 310688 w 315844"/>
                <a:gd name="connsiteY6" fmla="*/ 8628 h 154699"/>
                <a:gd name="connsiteX7" fmla="*/ 295218 w 315844"/>
                <a:gd name="connsiteY7" fmla="*/ 248 h 154699"/>
                <a:gd name="connsiteX8" fmla="*/ 278459 w 315844"/>
                <a:gd name="connsiteY8" fmla="*/ 17652 h 154699"/>
                <a:gd name="connsiteX9" fmla="*/ 232694 w 315844"/>
                <a:gd name="connsiteY9" fmla="*/ 35056 h 154699"/>
                <a:gd name="connsiteX10" fmla="*/ 219802 w 315844"/>
                <a:gd name="connsiteY10" fmla="*/ 26676 h 154699"/>
                <a:gd name="connsiteX11" fmla="*/ 214646 w 315844"/>
                <a:gd name="connsiteY11" fmla="*/ 22809 h 154699"/>
                <a:gd name="connsiteX12" fmla="*/ 155989 w 315844"/>
                <a:gd name="connsiteY12" fmla="*/ 3471 h 154699"/>
                <a:gd name="connsiteX13" fmla="*/ 99265 w 315844"/>
                <a:gd name="connsiteY13" fmla="*/ 12495 h 154699"/>
                <a:gd name="connsiteX14" fmla="*/ 77994 w 315844"/>
                <a:gd name="connsiteY14" fmla="*/ 40212 h 154699"/>
                <a:gd name="connsiteX15" fmla="*/ 68325 w 315844"/>
                <a:gd name="connsiteY15" fmla="*/ 50526 h 154699"/>
                <a:gd name="connsiteX16" fmla="*/ 54789 w 315844"/>
                <a:gd name="connsiteY16" fmla="*/ 54393 h 154699"/>
                <a:gd name="connsiteX17" fmla="*/ 24494 w 315844"/>
                <a:gd name="connsiteY17" fmla="*/ 38279 h 154699"/>
                <a:gd name="connsiteX18" fmla="*/ 21916 w 315844"/>
                <a:gd name="connsiteY18" fmla="*/ 21520 h 154699"/>
                <a:gd name="connsiteX19" fmla="*/ 16759 w 315844"/>
                <a:gd name="connsiteY19" fmla="*/ 6050 h 154699"/>
                <a:gd name="connsiteX20" fmla="*/ 0 w 315844"/>
                <a:gd name="connsiteY20" fmla="*/ 25387 h 154699"/>
                <a:gd name="connsiteX21" fmla="*/ 5801 w 315844"/>
                <a:gd name="connsiteY21" fmla="*/ 71797 h 154699"/>
                <a:gd name="connsiteX22" fmla="*/ 126983 w 315844"/>
                <a:gd name="connsiteY22" fmla="*/ 73731 h 154699"/>
                <a:gd name="connsiteX23" fmla="*/ 171459 w 315844"/>
                <a:gd name="connsiteY23" fmla="*/ 76309 h 154699"/>
                <a:gd name="connsiteX24" fmla="*/ 175326 w 315844"/>
                <a:gd name="connsiteY24" fmla="*/ 89845 h 154699"/>
                <a:gd name="connsiteX25" fmla="*/ 120537 w 315844"/>
                <a:gd name="connsiteY25" fmla="*/ 85978 h 154699"/>
                <a:gd name="connsiteX26" fmla="*/ 126983 w 315844"/>
                <a:gd name="connsiteY26" fmla="*/ 73731 h 154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15844" h="154699">
                  <a:moveTo>
                    <a:pt x="5801" y="71797"/>
                  </a:moveTo>
                  <a:cubicBezTo>
                    <a:pt x="12892" y="101448"/>
                    <a:pt x="28361" y="128520"/>
                    <a:pt x="53500" y="143990"/>
                  </a:cubicBezTo>
                  <a:cubicBezTo>
                    <a:pt x="81217" y="161394"/>
                    <a:pt x="115380" y="160749"/>
                    <a:pt x="146964" y="160105"/>
                  </a:cubicBezTo>
                  <a:cubicBezTo>
                    <a:pt x="164368" y="159460"/>
                    <a:pt x="181772" y="158815"/>
                    <a:pt x="199175" y="158815"/>
                  </a:cubicBezTo>
                  <a:cubicBezTo>
                    <a:pt x="243652" y="157526"/>
                    <a:pt x="287483" y="149147"/>
                    <a:pt x="307465" y="100803"/>
                  </a:cubicBezTo>
                  <a:cubicBezTo>
                    <a:pt x="317134" y="78243"/>
                    <a:pt x="319068" y="53104"/>
                    <a:pt x="315845" y="27965"/>
                  </a:cubicBezTo>
                  <a:cubicBezTo>
                    <a:pt x="315200" y="21520"/>
                    <a:pt x="313911" y="14429"/>
                    <a:pt x="310688" y="8628"/>
                  </a:cubicBezTo>
                  <a:cubicBezTo>
                    <a:pt x="307465" y="2827"/>
                    <a:pt x="301020" y="-1041"/>
                    <a:pt x="295218" y="248"/>
                  </a:cubicBezTo>
                  <a:cubicBezTo>
                    <a:pt x="287483" y="1538"/>
                    <a:pt x="282971" y="10562"/>
                    <a:pt x="278459" y="17652"/>
                  </a:cubicBezTo>
                  <a:cubicBezTo>
                    <a:pt x="268146" y="32477"/>
                    <a:pt x="248808" y="42146"/>
                    <a:pt x="232694" y="35056"/>
                  </a:cubicBezTo>
                  <a:cubicBezTo>
                    <a:pt x="228182" y="33122"/>
                    <a:pt x="223670" y="29899"/>
                    <a:pt x="219802" y="26676"/>
                  </a:cubicBezTo>
                  <a:cubicBezTo>
                    <a:pt x="217868" y="25387"/>
                    <a:pt x="216579" y="24098"/>
                    <a:pt x="214646" y="22809"/>
                  </a:cubicBezTo>
                  <a:cubicBezTo>
                    <a:pt x="197242" y="9917"/>
                    <a:pt x="176615" y="4760"/>
                    <a:pt x="155989" y="3471"/>
                  </a:cubicBezTo>
                  <a:cubicBezTo>
                    <a:pt x="137940" y="2182"/>
                    <a:pt x="112157" y="-2974"/>
                    <a:pt x="99265" y="12495"/>
                  </a:cubicBezTo>
                  <a:cubicBezTo>
                    <a:pt x="92175" y="21520"/>
                    <a:pt x="85085" y="31188"/>
                    <a:pt x="77994" y="40212"/>
                  </a:cubicBezTo>
                  <a:cubicBezTo>
                    <a:pt x="74771" y="44080"/>
                    <a:pt x="72193" y="47947"/>
                    <a:pt x="68325" y="50526"/>
                  </a:cubicBezTo>
                  <a:cubicBezTo>
                    <a:pt x="64458" y="53104"/>
                    <a:pt x="59302" y="54393"/>
                    <a:pt x="54789" y="54393"/>
                  </a:cubicBezTo>
                  <a:cubicBezTo>
                    <a:pt x="43187" y="55038"/>
                    <a:pt x="29006" y="50526"/>
                    <a:pt x="24494" y="38279"/>
                  </a:cubicBezTo>
                  <a:cubicBezTo>
                    <a:pt x="22560" y="33122"/>
                    <a:pt x="22560" y="27321"/>
                    <a:pt x="21916" y="21520"/>
                  </a:cubicBezTo>
                  <a:cubicBezTo>
                    <a:pt x="21271" y="15718"/>
                    <a:pt x="19982" y="9917"/>
                    <a:pt x="16759" y="6050"/>
                  </a:cubicBezTo>
                  <a:cubicBezTo>
                    <a:pt x="2578" y="-9420"/>
                    <a:pt x="644" y="16363"/>
                    <a:pt x="0" y="25387"/>
                  </a:cubicBezTo>
                  <a:cubicBezTo>
                    <a:pt x="644" y="40857"/>
                    <a:pt x="1934" y="56327"/>
                    <a:pt x="5801" y="71797"/>
                  </a:cubicBezTo>
                  <a:close/>
                  <a:moveTo>
                    <a:pt x="126983" y="73731"/>
                  </a:moveTo>
                  <a:cubicBezTo>
                    <a:pt x="141163" y="82755"/>
                    <a:pt x="155989" y="82110"/>
                    <a:pt x="171459" y="76309"/>
                  </a:cubicBezTo>
                  <a:cubicBezTo>
                    <a:pt x="179194" y="73731"/>
                    <a:pt x="183706" y="86622"/>
                    <a:pt x="175326" y="89845"/>
                  </a:cubicBezTo>
                  <a:cubicBezTo>
                    <a:pt x="156633" y="96291"/>
                    <a:pt x="138585" y="96936"/>
                    <a:pt x="120537" y="85978"/>
                  </a:cubicBezTo>
                  <a:cubicBezTo>
                    <a:pt x="113446" y="81466"/>
                    <a:pt x="119248" y="69219"/>
                    <a:pt x="126983" y="73731"/>
                  </a:cubicBezTo>
                  <a:close/>
                </a:path>
              </a:pathLst>
            </a:custGeom>
            <a:solidFill>
              <a:srgbClr val="012263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47678D78-CE46-48E6-AC67-895C1D57E318}"/>
                </a:ext>
              </a:extLst>
            </p:cNvPr>
            <p:cNvSpPr/>
            <p:nvPr/>
          </p:nvSpPr>
          <p:spPr>
            <a:xfrm>
              <a:off x="5836023" y="2320866"/>
              <a:ext cx="347047" cy="269261"/>
            </a:xfrm>
            <a:custGeom>
              <a:avLst/>
              <a:gdLst>
                <a:gd name="connsiteX0" fmla="*/ 17477 w 373857"/>
                <a:gd name="connsiteY0" fmla="*/ 76068 h 290061"/>
                <a:gd name="connsiteX1" fmla="*/ 9098 w 373857"/>
                <a:gd name="connsiteY1" fmla="*/ 41261 h 290061"/>
                <a:gd name="connsiteX2" fmla="*/ 43260 w 373857"/>
                <a:gd name="connsiteY2" fmla="*/ 42550 h 290061"/>
                <a:gd name="connsiteX3" fmla="*/ 42616 w 373857"/>
                <a:gd name="connsiteY3" fmla="*/ 21923 h 290061"/>
                <a:gd name="connsiteX4" fmla="*/ 124477 w 373857"/>
                <a:gd name="connsiteY4" fmla="*/ 7098 h 290061"/>
                <a:gd name="connsiteX5" fmla="*/ 288201 w 373857"/>
                <a:gd name="connsiteY5" fmla="*/ 20634 h 290061"/>
                <a:gd name="connsiteX6" fmla="*/ 373931 w 373857"/>
                <a:gd name="connsiteY6" fmla="*/ 136014 h 290061"/>
                <a:gd name="connsiteX7" fmla="*/ 343635 w 373857"/>
                <a:gd name="connsiteY7" fmla="*/ 294581 h 290061"/>
                <a:gd name="connsiteX8" fmla="*/ 345569 w 373857"/>
                <a:gd name="connsiteY8" fmla="*/ 237214 h 290061"/>
                <a:gd name="connsiteX9" fmla="*/ 331388 w 373857"/>
                <a:gd name="connsiteY9" fmla="*/ 201762 h 290061"/>
                <a:gd name="connsiteX10" fmla="*/ 277243 w 373857"/>
                <a:gd name="connsiteY10" fmla="*/ 149551 h 290061"/>
                <a:gd name="connsiteX11" fmla="*/ 163152 w 373857"/>
                <a:gd name="connsiteY11" fmla="*/ 116677 h 290061"/>
                <a:gd name="connsiteX12" fmla="*/ 47773 w 373857"/>
                <a:gd name="connsiteY12" fmla="*/ 122478 h 290061"/>
                <a:gd name="connsiteX13" fmla="*/ 16832 w 373857"/>
                <a:gd name="connsiteY13" fmla="*/ 115388 h 290061"/>
                <a:gd name="connsiteX14" fmla="*/ 73 w 373857"/>
                <a:gd name="connsiteY14" fmla="*/ 76713 h 290061"/>
                <a:gd name="connsiteX15" fmla="*/ 17477 w 373857"/>
                <a:gd name="connsiteY15" fmla="*/ 76068 h 290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3857" h="290061">
                  <a:moveTo>
                    <a:pt x="17477" y="76068"/>
                  </a:moveTo>
                  <a:cubicBezTo>
                    <a:pt x="13609" y="64466"/>
                    <a:pt x="11031" y="52863"/>
                    <a:pt x="9098" y="41261"/>
                  </a:cubicBezTo>
                  <a:cubicBezTo>
                    <a:pt x="20055" y="44484"/>
                    <a:pt x="31658" y="45128"/>
                    <a:pt x="43260" y="42550"/>
                  </a:cubicBezTo>
                  <a:cubicBezTo>
                    <a:pt x="43260" y="35460"/>
                    <a:pt x="42616" y="29014"/>
                    <a:pt x="42616" y="21923"/>
                  </a:cubicBezTo>
                  <a:cubicBezTo>
                    <a:pt x="42616" y="16122"/>
                    <a:pt x="118032" y="8387"/>
                    <a:pt x="124477" y="7098"/>
                  </a:cubicBezTo>
                  <a:cubicBezTo>
                    <a:pt x="181845" y="-637"/>
                    <a:pt x="234701" y="-8372"/>
                    <a:pt x="288201" y="20634"/>
                  </a:cubicBezTo>
                  <a:cubicBezTo>
                    <a:pt x="333966" y="45128"/>
                    <a:pt x="364906" y="83803"/>
                    <a:pt x="373931" y="136014"/>
                  </a:cubicBezTo>
                  <a:cubicBezTo>
                    <a:pt x="382955" y="185647"/>
                    <a:pt x="370063" y="252039"/>
                    <a:pt x="343635" y="294581"/>
                  </a:cubicBezTo>
                  <a:cubicBezTo>
                    <a:pt x="342991" y="281045"/>
                    <a:pt x="348792" y="249461"/>
                    <a:pt x="345569" y="237214"/>
                  </a:cubicBezTo>
                  <a:cubicBezTo>
                    <a:pt x="342991" y="224322"/>
                    <a:pt x="337834" y="212720"/>
                    <a:pt x="331388" y="201762"/>
                  </a:cubicBezTo>
                  <a:cubicBezTo>
                    <a:pt x="318497" y="179846"/>
                    <a:pt x="299159" y="161798"/>
                    <a:pt x="277243" y="149551"/>
                  </a:cubicBezTo>
                  <a:cubicBezTo>
                    <a:pt x="242436" y="129569"/>
                    <a:pt x="202472" y="120544"/>
                    <a:pt x="163152" y="116677"/>
                  </a:cubicBezTo>
                  <a:cubicBezTo>
                    <a:pt x="127056" y="113454"/>
                    <a:pt x="82580" y="110876"/>
                    <a:pt x="47773" y="122478"/>
                  </a:cubicBezTo>
                  <a:cubicBezTo>
                    <a:pt x="31013" y="128279"/>
                    <a:pt x="28435" y="132791"/>
                    <a:pt x="16832" y="115388"/>
                  </a:cubicBezTo>
                  <a:cubicBezTo>
                    <a:pt x="14899" y="112165"/>
                    <a:pt x="-1216" y="76713"/>
                    <a:pt x="73" y="76713"/>
                  </a:cubicBezTo>
                  <a:cubicBezTo>
                    <a:pt x="5230" y="76713"/>
                    <a:pt x="11676" y="76713"/>
                    <a:pt x="17477" y="76068"/>
                  </a:cubicBezTo>
                  <a:close/>
                </a:path>
              </a:pathLst>
            </a:custGeom>
            <a:solidFill>
              <a:srgbClr val="012263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A7EA2A5D-F14F-4BC9-8F90-AABBE3F57A83}"/>
                </a:ext>
              </a:extLst>
            </p:cNvPr>
            <p:cNvSpPr/>
            <p:nvPr/>
          </p:nvSpPr>
          <p:spPr>
            <a:xfrm>
              <a:off x="3567722" y="2377118"/>
              <a:ext cx="119671" cy="143606"/>
            </a:xfrm>
            <a:custGeom>
              <a:avLst/>
              <a:gdLst>
                <a:gd name="connsiteX0" fmla="*/ 115380 w 128916"/>
                <a:gd name="connsiteY0" fmla="*/ 134718 h 154699"/>
                <a:gd name="connsiteX1" fmla="*/ 51567 w 128916"/>
                <a:gd name="connsiteY1" fmla="*/ 158567 h 154699"/>
                <a:gd name="connsiteX2" fmla="*/ 0 w 128916"/>
                <a:gd name="connsiteY2" fmla="*/ 57368 h 154699"/>
                <a:gd name="connsiteX3" fmla="*/ 42542 w 128916"/>
                <a:gd name="connsiteY3" fmla="*/ 0 h 154699"/>
                <a:gd name="connsiteX4" fmla="*/ 103133 w 128916"/>
                <a:gd name="connsiteY4" fmla="*/ 5157 h 154699"/>
                <a:gd name="connsiteX5" fmla="*/ 96043 w 128916"/>
                <a:gd name="connsiteY5" fmla="*/ 58657 h 154699"/>
                <a:gd name="connsiteX6" fmla="*/ 108290 w 128916"/>
                <a:gd name="connsiteY6" fmla="*/ 54145 h 154699"/>
                <a:gd name="connsiteX7" fmla="*/ 115380 w 128916"/>
                <a:gd name="connsiteY7" fmla="*/ 37386 h 154699"/>
                <a:gd name="connsiteX8" fmla="*/ 132139 w 128916"/>
                <a:gd name="connsiteY8" fmla="*/ 45121 h 154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8916" h="154699">
                  <a:moveTo>
                    <a:pt x="115380" y="134718"/>
                  </a:moveTo>
                  <a:lnTo>
                    <a:pt x="51567" y="158567"/>
                  </a:lnTo>
                  <a:lnTo>
                    <a:pt x="0" y="57368"/>
                  </a:lnTo>
                  <a:lnTo>
                    <a:pt x="42542" y="0"/>
                  </a:lnTo>
                  <a:lnTo>
                    <a:pt x="103133" y="5157"/>
                  </a:lnTo>
                  <a:lnTo>
                    <a:pt x="96043" y="58657"/>
                  </a:lnTo>
                  <a:lnTo>
                    <a:pt x="108290" y="54145"/>
                  </a:lnTo>
                  <a:lnTo>
                    <a:pt x="115380" y="37386"/>
                  </a:lnTo>
                  <a:lnTo>
                    <a:pt x="132139" y="45121"/>
                  </a:lnTo>
                  <a:close/>
                </a:path>
              </a:pathLst>
            </a:custGeom>
            <a:solidFill>
              <a:srgbClr val="EACFC1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731894F2-29DD-45FF-B71E-7AF032836E9C}"/>
                </a:ext>
              </a:extLst>
            </p:cNvPr>
            <p:cNvSpPr/>
            <p:nvPr/>
          </p:nvSpPr>
          <p:spPr>
            <a:xfrm>
              <a:off x="3599435" y="2480625"/>
              <a:ext cx="598357" cy="741962"/>
            </a:xfrm>
            <a:custGeom>
              <a:avLst/>
              <a:gdLst>
                <a:gd name="connsiteX0" fmla="*/ 638780 w 644581"/>
                <a:gd name="connsiteY0" fmla="*/ 628477 h 799280"/>
                <a:gd name="connsiteX1" fmla="*/ 644581 w 644581"/>
                <a:gd name="connsiteY1" fmla="*/ 469265 h 799280"/>
                <a:gd name="connsiteX2" fmla="*/ 410598 w 644581"/>
                <a:gd name="connsiteY2" fmla="*/ 504717 h 799280"/>
                <a:gd name="connsiteX3" fmla="*/ 380303 w 644581"/>
                <a:gd name="connsiteY3" fmla="*/ 497627 h 799280"/>
                <a:gd name="connsiteX4" fmla="*/ 368056 w 644581"/>
                <a:gd name="connsiteY4" fmla="*/ 480868 h 799280"/>
                <a:gd name="connsiteX5" fmla="*/ 178549 w 644581"/>
                <a:gd name="connsiteY5" fmla="*/ 141174 h 799280"/>
                <a:gd name="connsiteX6" fmla="*/ 87018 w 644581"/>
                <a:gd name="connsiteY6" fmla="*/ 10 h 799280"/>
                <a:gd name="connsiteX7" fmla="*/ 0 w 644581"/>
                <a:gd name="connsiteY7" fmla="*/ 28372 h 799280"/>
                <a:gd name="connsiteX8" fmla="*/ 72193 w 644581"/>
                <a:gd name="connsiteY8" fmla="*/ 293939 h 799280"/>
                <a:gd name="connsiteX9" fmla="*/ 126338 w 644581"/>
                <a:gd name="connsiteY9" fmla="*/ 492470 h 799280"/>
                <a:gd name="connsiteX10" fmla="*/ 174037 w 644581"/>
                <a:gd name="connsiteY10" fmla="*/ 611718 h 799280"/>
                <a:gd name="connsiteX11" fmla="*/ 279748 w 644581"/>
                <a:gd name="connsiteY11" fmla="*/ 703249 h 799280"/>
                <a:gd name="connsiteX12" fmla="*/ 538870 w 644581"/>
                <a:gd name="connsiteY12" fmla="*/ 804448 h 799280"/>
                <a:gd name="connsiteX13" fmla="*/ 638780 w 644581"/>
                <a:gd name="connsiteY13" fmla="*/ 628477 h 799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44581" h="799280">
                  <a:moveTo>
                    <a:pt x="638780" y="628477"/>
                  </a:moveTo>
                  <a:cubicBezTo>
                    <a:pt x="652961" y="574332"/>
                    <a:pt x="651027" y="524699"/>
                    <a:pt x="644581" y="469265"/>
                  </a:cubicBezTo>
                  <a:cubicBezTo>
                    <a:pt x="568521" y="492470"/>
                    <a:pt x="489882" y="504717"/>
                    <a:pt x="410598" y="504717"/>
                  </a:cubicBezTo>
                  <a:cubicBezTo>
                    <a:pt x="399640" y="504717"/>
                    <a:pt x="388683" y="504073"/>
                    <a:pt x="380303" y="497627"/>
                  </a:cubicBezTo>
                  <a:cubicBezTo>
                    <a:pt x="374502" y="493115"/>
                    <a:pt x="371279" y="487314"/>
                    <a:pt x="368056" y="480868"/>
                  </a:cubicBezTo>
                  <a:cubicBezTo>
                    <a:pt x="304887" y="367422"/>
                    <a:pt x="241718" y="254620"/>
                    <a:pt x="178549" y="141174"/>
                  </a:cubicBezTo>
                  <a:cubicBezTo>
                    <a:pt x="160501" y="108944"/>
                    <a:pt x="120537" y="3878"/>
                    <a:pt x="87018" y="10"/>
                  </a:cubicBezTo>
                  <a:cubicBezTo>
                    <a:pt x="79928" y="-634"/>
                    <a:pt x="0" y="29661"/>
                    <a:pt x="0" y="28372"/>
                  </a:cubicBezTo>
                  <a:cubicBezTo>
                    <a:pt x="23849" y="116679"/>
                    <a:pt x="47699" y="205632"/>
                    <a:pt x="72193" y="293939"/>
                  </a:cubicBezTo>
                  <a:cubicBezTo>
                    <a:pt x="90241" y="360331"/>
                    <a:pt x="108290" y="426078"/>
                    <a:pt x="126338" y="492470"/>
                  </a:cubicBezTo>
                  <a:cubicBezTo>
                    <a:pt x="137940" y="536302"/>
                    <a:pt x="143097" y="577555"/>
                    <a:pt x="174037" y="611718"/>
                  </a:cubicBezTo>
                  <a:cubicBezTo>
                    <a:pt x="204977" y="646525"/>
                    <a:pt x="241718" y="676821"/>
                    <a:pt x="279748" y="703249"/>
                  </a:cubicBezTo>
                  <a:cubicBezTo>
                    <a:pt x="357098" y="756104"/>
                    <a:pt x="446050" y="791556"/>
                    <a:pt x="538870" y="804448"/>
                  </a:cubicBezTo>
                  <a:cubicBezTo>
                    <a:pt x="585925" y="757393"/>
                    <a:pt x="621376" y="694869"/>
                    <a:pt x="638780" y="628477"/>
                  </a:cubicBezTo>
                  <a:close/>
                </a:path>
              </a:pathLst>
            </a:custGeom>
            <a:solidFill>
              <a:srgbClr val="B3CCFF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4A3B787C-0FA5-4A05-98AD-3FAC81D3E63E}"/>
                </a:ext>
              </a:extLst>
            </p:cNvPr>
            <p:cNvSpPr/>
            <p:nvPr/>
          </p:nvSpPr>
          <p:spPr>
            <a:xfrm>
              <a:off x="4053588" y="5234871"/>
              <a:ext cx="149589" cy="125654"/>
            </a:xfrm>
            <a:custGeom>
              <a:avLst/>
              <a:gdLst>
                <a:gd name="connsiteX0" fmla="*/ 154700 w 161145"/>
                <a:gd name="connsiteY0" fmla="*/ 50922 h 135362"/>
                <a:gd name="connsiteX1" fmla="*/ 145031 w 161145"/>
                <a:gd name="connsiteY1" fmla="*/ 101844 h 135362"/>
                <a:gd name="connsiteX2" fmla="*/ 38030 w 161145"/>
                <a:gd name="connsiteY2" fmla="*/ 136007 h 135362"/>
                <a:gd name="connsiteX3" fmla="*/ 0 w 161145"/>
                <a:gd name="connsiteY3" fmla="*/ 76705 h 135362"/>
                <a:gd name="connsiteX4" fmla="*/ 58012 w 161145"/>
                <a:gd name="connsiteY4" fmla="*/ 34163 h 135362"/>
                <a:gd name="connsiteX5" fmla="*/ 164368 w 161145"/>
                <a:gd name="connsiteY5" fmla="*/ 0 h 135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1145" h="135362">
                  <a:moveTo>
                    <a:pt x="154700" y="50922"/>
                  </a:moveTo>
                  <a:lnTo>
                    <a:pt x="145031" y="101844"/>
                  </a:lnTo>
                  <a:lnTo>
                    <a:pt x="38030" y="136007"/>
                  </a:lnTo>
                  <a:lnTo>
                    <a:pt x="0" y="76705"/>
                  </a:lnTo>
                  <a:lnTo>
                    <a:pt x="58012" y="34163"/>
                  </a:lnTo>
                  <a:lnTo>
                    <a:pt x="164368" y="0"/>
                  </a:lnTo>
                  <a:close/>
                </a:path>
              </a:pathLst>
            </a:custGeom>
            <a:solidFill>
              <a:srgbClr val="012263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9F54360D-2A3E-49A3-A69F-866A23EC5E95}"/>
                </a:ext>
              </a:extLst>
            </p:cNvPr>
            <p:cNvSpPr/>
            <p:nvPr/>
          </p:nvSpPr>
          <p:spPr>
            <a:xfrm>
              <a:off x="4472438" y="5221108"/>
              <a:ext cx="137623" cy="95737"/>
            </a:xfrm>
            <a:custGeom>
              <a:avLst/>
              <a:gdLst>
                <a:gd name="connsiteX0" fmla="*/ 0 w 148253"/>
                <a:gd name="connsiteY0" fmla="*/ 8379 h 103133"/>
                <a:gd name="connsiteX1" fmla="*/ 4512 w 148253"/>
                <a:gd name="connsiteY1" fmla="*/ 61235 h 103133"/>
                <a:gd name="connsiteX2" fmla="*/ 107645 w 148253"/>
                <a:gd name="connsiteY2" fmla="*/ 105067 h 103133"/>
                <a:gd name="connsiteX3" fmla="*/ 152766 w 148253"/>
                <a:gd name="connsiteY3" fmla="*/ 48344 h 103133"/>
                <a:gd name="connsiteX4" fmla="*/ 98621 w 148253"/>
                <a:gd name="connsiteY4" fmla="*/ 0 h 103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8253" h="103133">
                  <a:moveTo>
                    <a:pt x="0" y="8379"/>
                  </a:moveTo>
                  <a:lnTo>
                    <a:pt x="4512" y="61235"/>
                  </a:lnTo>
                  <a:lnTo>
                    <a:pt x="107645" y="105067"/>
                  </a:lnTo>
                  <a:lnTo>
                    <a:pt x="152766" y="48344"/>
                  </a:lnTo>
                  <a:lnTo>
                    <a:pt x="98621" y="0"/>
                  </a:lnTo>
                  <a:close/>
                </a:path>
              </a:pathLst>
            </a:custGeom>
            <a:solidFill>
              <a:srgbClr val="012263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080349FB-2149-43ED-8ED8-B37502C2DB91}"/>
                </a:ext>
              </a:extLst>
            </p:cNvPr>
            <p:cNvSpPr/>
            <p:nvPr/>
          </p:nvSpPr>
          <p:spPr>
            <a:xfrm>
              <a:off x="4011703" y="3842494"/>
              <a:ext cx="676143" cy="1424089"/>
            </a:xfrm>
            <a:custGeom>
              <a:avLst/>
              <a:gdLst>
                <a:gd name="connsiteX0" fmla="*/ 45121 w 728377"/>
                <a:gd name="connsiteY0" fmla="*/ 0 h 1534103"/>
                <a:gd name="connsiteX1" fmla="*/ 0 w 728377"/>
                <a:gd name="connsiteY1" fmla="*/ 163724 h 1534103"/>
                <a:gd name="connsiteX2" fmla="*/ 23205 w 728377"/>
                <a:gd name="connsiteY2" fmla="*/ 238495 h 1534103"/>
                <a:gd name="connsiteX3" fmla="*/ 21271 w 728377"/>
                <a:gd name="connsiteY3" fmla="*/ 238495 h 1534103"/>
                <a:gd name="connsiteX4" fmla="*/ 48988 w 728377"/>
                <a:gd name="connsiteY4" fmla="*/ 669720 h 1534103"/>
                <a:gd name="connsiteX5" fmla="*/ 108290 w 728377"/>
                <a:gd name="connsiteY5" fmla="*/ 1539260 h 1534103"/>
                <a:gd name="connsiteX6" fmla="*/ 208200 w 728377"/>
                <a:gd name="connsiteY6" fmla="*/ 1535393 h 1534103"/>
                <a:gd name="connsiteX7" fmla="*/ 386749 w 728377"/>
                <a:gd name="connsiteY7" fmla="*/ 519533 h 1534103"/>
                <a:gd name="connsiteX8" fmla="*/ 400285 w 728377"/>
                <a:gd name="connsiteY8" fmla="*/ 566587 h 1534103"/>
                <a:gd name="connsiteX9" fmla="*/ 496972 w 728377"/>
                <a:gd name="connsiteY9" fmla="*/ 1505742 h 1534103"/>
                <a:gd name="connsiteX10" fmla="*/ 588503 w 728377"/>
                <a:gd name="connsiteY10" fmla="*/ 1497363 h 1534103"/>
                <a:gd name="connsiteX11" fmla="*/ 729666 w 728377"/>
                <a:gd name="connsiteY11" fmla="*/ 272013 h 1534103"/>
                <a:gd name="connsiteX12" fmla="*/ 729666 w 728377"/>
                <a:gd name="connsiteY12" fmla="*/ 23850 h 1534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28377" h="1534103">
                  <a:moveTo>
                    <a:pt x="45121" y="0"/>
                  </a:moveTo>
                  <a:lnTo>
                    <a:pt x="0" y="163724"/>
                  </a:lnTo>
                  <a:lnTo>
                    <a:pt x="23205" y="238495"/>
                  </a:lnTo>
                  <a:lnTo>
                    <a:pt x="21271" y="238495"/>
                  </a:lnTo>
                  <a:lnTo>
                    <a:pt x="48988" y="669720"/>
                  </a:lnTo>
                  <a:lnTo>
                    <a:pt x="108290" y="1539260"/>
                  </a:lnTo>
                  <a:lnTo>
                    <a:pt x="208200" y="1535393"/>
                  </a:lnTo>
                  <a:lnTo>
                    <a:pt x="386749" y="519533"/>
                  </a:lnTo>
                  <a:lnTo>
                    <a:pt x="400285" y="566587"/>
                  </a:lnTo>
                  <a:lnTo>
                    <a:pt x="496972" y="1505742"/>
                  </a:lnTo>
                  <a:lnTo>
                    <a:pt x="588503" y="1497363"/>
                  </a:lnTo>
                  <a:lnTo>
                    <a:pt x="729666" y="272013"/>
                  </a:lnTo>
                  <a:lnTo>
                    <a:pt x="729666" y="23850"/>
                  </a:lnTo>
                  <a:close/>
                </a:path>
              </a:pathLst>
            </a:custGeom>
            <a:solidFill>
              <a:srgbClr val="012263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1CE6B91B-3A28-426C-B124-2E440655FF9A}"/>
                </a:ext>
              </a:extLst>
            </p:cNvPr>
            <p:cNvSpPr/>
            <p:nvPr/>
          </p:nvSpPr>
          <p:spPr>
            <a:xfrm>
              <a:off x="3979228" y="2872278"/>
              <a:ext cx="771880" cy="1220648"/>
            </a:xfrm>
            <a:custGeom>
              <a:avLst/>
              <a:gdLst>
                <a:gd name="connsiteX0" fmla="*/ 486191 w 831510"/>
                <a:gd name="connsiteY0" fmla="*/ 10615 h 1314946"/>
                <a:gd name="connsiteX1" fmla="*/ 369522 w 831510"/>
                <a:gd name="connsiteY1" fmla="*/ 946 h 1314946"/>
                <a:gd name="connsiteX2" fmla="*/ 56256 w 831510"/>
                <a:gd name="connsiteY2" fmla="*/ 524347 h 1314946"/>
                <a:gd name="connsiteX3" fmla="*/ 10490 w 831510"/>
                <a:gd name="connsiteY3" fmla="*/ 1321049 h 1314946"/>
                <a:gd name="connsiteX4" fmla="*/ 299907 w 831510"/>
                <a:gd name="connsiteY4" fmla="*/ 1282374 h 1314946"/>
                <a:gd name="connsiteX5" fmla="*/ 815573 w 831510"/>
                <a:gd name="connsiteY5" fmla="*/ 1297844 h 1314946"/>
                <a:gd name="connsiteX6" fmla="*/ 826531 w 831510"/>
                <a:gd name="connsiteY6" fmla="*/ 1038722 h 1314946"/>
                <a:gd name="connsiteX7" fmla="*/ 788500 w 831510"/>
                <a:gd name="connsiteY7" fmla="*/ 785402 h 1314946"/>
                <a:gd name="connsiteX8" fmla="*/ 719530 w 831510"/>
                <a:gd name="connsiteY8" fmla="*/ 327749 h 1314946"/>
                <a:gd name="connsiteX9" fmla="*/ 717596 w 831510"/>
                <a:gd name="connsiteY9" fmla="*/ 314213 h 1314946"/>
                <a:gd name="connsiteX10" fmla="*/ 701482 w 831510"/>
                <a:gd name="connsiteY10" fmla="*/ 267803 h 1314946"/>
                <a:gd name="connsiteX11" fmla="*/ 591903 w 831510"/>
                <a:gd name="connsiteY11" fmla="*/ 78296 h 1314946"/>
                <a:gd name="connsiteX12" fmla="*/ 486191 w 831510"/>
                <a:gd name="connsiteY12" fmla="*/ 10615 h 1314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31510" h="1314946">
                  <a:moveTo>
                    <a:pt x="486191" y="10615"/>
                  </a:moveTo>
                  <a:cubicBezTo>
                    <a:pt x="486191" y="10615"/>
                    <a:pt x="369522" y="946"/>
                    <a:pt x="369522" y="946"/>
                  </a:cubicBezTo>
                  <a:cubicBezTo>
                    <a:pt x="108467" y="-20969"/>
                    <a:pt x="89774" y="343219"/>
                    <a:pt x="56256" y="524347"/>
                  </a:cubicBezTo>
                  <a:cubicBezTo>
                    <a:pt x="7267" y="786691"/>
                    <a:pt x="-14648" y="1054837"/>
                    <a:pt x="10490" y="1321049"/>
                  </a:cubicBezTo>
                  <a:cubicBezTo>
                    <a:pt x="92352" y="1275928"/>
                    <a:pt x="206443" y="1285597"/>
                    <a:pt x="299907" y="1282374"/>
                  </a:cubicBezTo>
                  <a:cubicBezTo>
                    <a:pt x="472011" y="1276573"/>
                    <a:pt x="649915" y="1271416"/>
                    <a:pt x="815573" y="1297844"/>
                  </a:cubicBezTo>
                  <a:cubicBezTo>
                    <a:pt x="846512" y="1303001"/>
                    <a:pt x="832976" y="1079976"/>
                    <a:pt x="826531" y="1038722"/>
                  </a:cubicBezTo>
                  <a:cubicBezTo>
                    <a:pt x="813639" y="954282"/>
                    <a:pt x="800747" y="869842"/>
                    <a:pt x="788500" y="785402"/>
                  </a:cubicBezTo>
                  <a:cubicBezTo>
                    <a:pt x="765295" y="632636"/>
                    <a:pt x="742090" y="480515"/>
                    <a:pt x="719530" y="327749"/>
                  </a:cubicBezTo>
                  <a:cubicBezTo>
                    <a:pt x="718885" y="323237"/>
                    <a:pt x="718241" y="318725"/>
                    <a:pt x="717596" y="314213"/>
                  </a:cubicBezTo>
                  <a:cubicBezTo>
                    <a:pt x="715018" y="298098"/>
                    <a:pt x="709861" y="281984"/>
                    <a:pt x="701482" y="267803"/>
                  </a:cubicBezTo>
                  <a:lnTo>
                    <a:pt x="591903" y="78296"/>
                  </a:lnTo>
                  <a:cubicBezTo>
                    <a:pt x="569987" y="39621"/>
                    <a:pt x="530023" y="14483"/>
                    <a:pt x="486191" y="10615"/>
                  </a:cubicBezTo>
                  <a:close/>
                </a:path>
              </a:pathLst>
            </a:custGeom>
            <a:solidFill>
              <a:srgbClr val="B3CCFF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FB70E5AB-AB8C-49DB-A5C5-B6FF720BC196}"/>
                </a:ext>
              </a:extLst>
            </p:cNvPr>
            <p:cNvSpPr/>
            <p:nvPr/>
          </p:nvSpPr>
          <p:spPr>
            <a:xfrm>
              <a:off x="4132919" y="2526109"/>
              <a:ext cx="299178" cy="394915"/>
            </a:xfrm>
            <a:custGeom>
              <a:avLst/>
              <a:gdLst>
                <a:gd name="connsiteX0" fmla="*/ 279373 w 322290"/>
                <a:gd name="connsiteY0" fmla="*/ 0 h 425423"/>
                <a:gd name="connsiteX1" fmla="*/ 49258 w 322290"/>
                <a:gd name="connsiteY1" fmla="*/ 70904 h 425423"/>
                <a:gd name="connsiteX2" fmla="*/ 2848 w 322290"/>
                <a:gd name="connsiteY2" fmla="*/ 219802 h 425423"/>
                <a:gd name="connsiteX3" fmla="*/ 34432 w 322290"/>
                <a:gd name="connsiteY3" fmla="*/ 288128 h 425423"/>
                <a:gd name="connsiteX4" fmla="*/ 74396 w 322290"/>
                <a:gd name="connsiteY4" fmla="*/ 315200 h 425423"/>
                <a:gd name="connsiteX5" fmla="*/ 133053 w 322290"/>
                <a:gd name="connsiteY5" fmla="*/ 331315 h 425423"/>
                <a:gd name="connsiteX6" fmla="*/ 128541 w 322290"/>
                <a:gd name="connsiteY6" fmla="*/ 401574 h 425423"/>
                <a:gd name="connsiteX7" fmla="*/ 185909 w 322290"/>
                <a:gd name="connsiteY7" fmla="*/ 426068 h 425423"/>
                <a:gd name="connsiteX8" fmla="*/ 199445 w 322290"/>
                <a:gd name="connsiteY8" fmla="*/ 429936 h 425423"/>
                <a:gd name="connsiteX9" fmla="*/ 217493 w 322290"/>
                <a:gd name="connsiteY9" fmla="*/ 422201 h 425423"/>
                <a:gd name="connsiteX10" fmla="*/ 249078 w 322290"/>
                <a:gd name="connsiteY10" fmla="*/ 399640 h 425423"/>
                <a:gd name="connsiteX11" fmla="*/ 252301 w 322290"/>
                <a:gd name="connsiteY11" fmla="*/ 396418 h 425423"/>
                <a:gd name="connsiteX12" fmla="*/ 252301 w 322290"/>
                <a:gd name="connsiteY12" fmla="*/ 389327 h 425423"/>
                <a:gd name="connsiteX13" fmla="*/ 238120 w 322290"/>
                <a:gd name="connsiteY13" fmla="*/ 304242 h 425423"/>
                <a:gd name="connsiteX14" fmla="*/ 265192 w 322290"/>
                <a:gd name="connsiteY14" fmla="*/ 284260 h 425423"/>
                <a:gd name="connsiteX15" fmla="*/ 319982 w 322290"/>
                <a:gd name="connsiteY15" fmla="*/ 90886 h 425423"/>
                <a:gd name="connsiteX16" fmla="*/ 279373 w 322290"/>
                <a:gd name="connsiteY16" fmla="*/ 0 h 425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22290" h="425423">
                  <a:moveTo>
                    <a:pt x="279373" y="0"/>
                  </a:moveTo>
                  <a:cubicBezTo>
                    <a:pt x="210403" y="43187"/>
                    <a:pt x="112427" y="18693"/>
                    <a:pt x="49258" y="70904"/>
                  </a:cubicBezTo>
                  <a:cubicBezTo>
                    <a:pt x="8005" y="105067"/>
                    <a:pt x="-6821" y="165657"/>
                    <a:pt x="2848" y="219802"/>
                  </a:cubicBezTo>
                  <a:cubicBezTo>
                    <a:pt x="7360" y="244941"/>
                    <a:pt x="17029" y="270080"/>
                    <a:pt x="34432" y="288128"/>
                  </a:cubicBezTo>
                  <a:cubicBezTo>
                    <a:pt x="46035" y="299730"/>
                    <a:pt x="59571" y="308754"/>
                    <a:pt x="74396" y="315200"/>
                  </a:cubicBezTo>
                  <a:cubicBezTo>
                    <a:pt x="85354" y="319712"/>
                    <a:pt x="127252" y="323580"/>
                    <a:pt x="133053" y="331315"/>
                  </a:cubicBezTo>
                  <a:cubicBezTo>
                    <a:pt x="140144" y="340984"/>
                    <a:pt x="129186" y="388683"/>
                    <a:pt x="128541" y="401574"/>
                  </a:cubicBezTo>
                  <a:cubicBezTo>
                    <a:pt x="147879" y="409954"/>
                    <a:pt x="166572" y="417689"/>
                    <a:pt x="185909" y="426068"/>
                  </a:cubicBezTo>
                  <a:cubicBezTo>
                    <a:pt x="190421" y="428002"/>
                    <a:pt x="194933" y="429936"/>
                    <a:pt x="199445" y="429936"/>
                  </a:cubicBezTo>
                  <a:cubicBezTo>
                    <a:pt x="205891" y="429936"/>
                    <a:pt x="212337" y="426068"/>
                    <a:pt x="217493" y="422201"/>
                  </a:cubicBezTo>
                  <a:cubicBezTo>
                    <a:pt x="227807" y="414466"/>
                    <a:pt x="238765" y="407375"/>
                    <a:pt x="249078" y="399640"/>
                  </a:cubicBezTo>
                  <a:cubicBezTo>
                    <a:pt x="250367" y="398996"/>
                    <a:pt x="251656" y="397707"/>
                    <a:pt x="252301" y="396418"/>
                  </a:cubicBezTo>
                  <a:cubicBezTo>
                    <a:pt x="253590" y="394484"/>
                    <a:pt x="252945" y="391906"/>
                    <a:pt x="252301" y="389327"/>
                  </a:cubicBezTo>
                  <a:cubicBezTo>
                    <a:pt x="244566" y="359676"/>
                    <a:pt x="241343" y="335182"/>
                    <a:pt x="238120" y="304242"/>
                  </a:cubicBezTo>
                  <a:cubicBezTo>
                    <a:pt x="247789" y="298441"/>
                    <a:pt x="256813" y="291995"/>
                    <a:pt x="265192" y="284260"/>
                  </a:cubicBezTo>
                  <a:cubicBezTo>
                    <a:pt x="316114" y="237851"/>
                    <a:pt x="338675" y="159856"/>
                    <a:pt x="319982" y="90886"/>
                  </a:cubicBezTo>
                  <a:cubicBezTo>
                    <a:pt x="312247" y="58012"/>
                    <a:pt x="295488" y="28362"/>
                    <a:pt x="279373" y="0"/>
                  </a:cubicBezTo>
                  <a:close/>
                </a:path>
              </a:pathLst>
            </a:custGeom>
            <a:solidFill>
              <a:srgbClr val="EACFC1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630E724D-6A11-4102-8A46-218CC70ADA41}"/>
                </a:ext>
              </a:extLst>
            </p:cNvPr>
            <p:cNvSpPr/>
            <p:nvPr/>
          </p:nvSpPr>
          <p:spPr>
            <a:xfrm>
              <a:off x="4047485" y="2317347"/>
              <a:ext cx="544504" cy="442784"/>
            </a:xfrm>
            <a:custGeom>
              <a:avLst/>
              <a:gdLst>
                <a:gd name="connsiteX0" fmla="*/ 189635 w 586569"/>
                <a:gd name="connsiteY0" fmla="*/ 282257 h 476990"/>
                <a:gd name="connsiteX1" fmla="*/ 198014 w 586569"/>
                <a:gd name="connsiteY1" fmla="*/ 279034 h 476990"/>
                <a:gd name="connsiteX2" fmla="*/ 328220 w 586569"/>
                <a:gd name="connsiteY2" fmla="*/ 266143 h 476990"/>
                <a:gd name="connsiteX3" fmla="*/ 401702 w 586569"/>
                <a:gd name="connsiteY3" fmla="*/ 312553 h 476990"/>
                <a:gd name="connsiteX4" fmla="*/ 406214 w 586569"/>
                <a:gd name="connsiteY4" fmla="*/ 357029 h 476990"/>
                <a:gd name="connsiteX5" fmla="*/ 405569 w 586569"/>
                <a:gd name="connsiteY5" fmla="*/ 413107 h 476990"/>
                <a:gd name="connsiteX6" fmla="*/ 406859 w 586569"/>
                <a:gd name="connsiteY6" fmla="*/ 422776 h 476990"/>
                <a:gd name="connsiteX7" fmla="*/ 432642 w 586569"/>
                <a:gd name="connsiteY7" fmla="*/ 419553 h 476990"/>
                <a:gd name="connsiteX8" fmla="*/ 490009 w 586569"/>
                <a:gd name="connsiteY8" fmla="*/ 305462 h 476990"/>
                <a:gd name="connsiteX9" fmla="*/ 497744 w 586569"/>
                <a:gd name="connsiteY9" fmla="*/ 212643 h 476990"/>
                <a:gd name="connsiteX10" fmla="*/ 525461 w 586569"/>
                <a:gd name="connsiteY10" fmla="*/ 153986 h 476990"/>
                <a:gd name="connsiteX11" fmla="*/ 579606 w 586569"/>
                <a:gd name="connsiteY11" fmla="*/ 92106 h 476990"/>
                <a:gd name="connsiteX12" fmla="*/ 569938 w 586569"/>
                <a:gd name="connsiteY12" fmla="*/ 15401 h 476990"/>
                <a:gd name="connsiteX13" fmla="*/ 495166 w 586569"/>
                <a:gd name="connsiteY13" fmla="*/ 3154 h 476990"/>
                <a:gd name="connsiteX14" fmla="*/ 417816 w 586569"/>
                <a:gd name="connsiteY14" fmla="*/ 14756 h 476990"/>
                <a:gd name="connsiteX15" fmla="*/ 384298 w 586569"/>
                <a:gd name="connsiteY15" fmla="*/ 10244 h 476990"/>
                <a:gd name="connsiteX16" fmla="*/ 266984 w 586569"/>
                <a:gd name="connsiteY16" fmla="*/ 61811 h 476990"/>
                <a:gd name="connsiteX17" fmla="*/ 185122 w 586569"/>
                <a:gd name="connsiteY17" fmla="*/ 126269 h 476990"/>
                <a:gd name="connsiteX18" fmla="*/ 104550 w 586569"/>
                <a:gd name="connsiteY18" fmla="*/ 148184 h 476990"/>
                <a:gd name="connsiteX19" fmla="*/ 9796 w 586569"/>
                <a:gd name="connsiteY19" fmla="*/ 244872 h 476990"/>
                <a:gd name="connsiteX20" fmla="*/ 33646 w 586569"/>
                <a:gd name="connsiteY20" fmla="*/ 395059 h 476990"/>
                <a:gd name="connsiteX21" fmla="*/ 81989 w 586569"/>
                <a:gd name="connsiteY21" fmla="*/ 458228 h 476990"/>
                <a:gd name="connsiteX22" fmla="*/ 115508 w 586569"/>
                <a:gd name="connsiteY22" fmla="*/ 464674 h 476990"/>
                <a:gd name="connsiteX23" fmla="*/ 103261 w 586569"/>
                <a:gd name="connsiteY23" fmla="*/ 396993 h 476990"/>
                <a:gd name="connsiteX24" fmla="*/ 189635 w 586569"/>
                <a:gd name="connsiteY24" fmla="*/ 282257 h 476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586569" h="476990">
                  <a:moveTo>
                    <a:pt x="189635" y="282257"/>
                  </a:moveTo>
                  <a:cubicBezTo>
                    <a:pt x="192213" y="280968"/>
                    <a:pt x="195436" y="280324"/>
                    <a:pt x="198014" y="279034"/>
                  </a:cubicBezTo>
                  <a:cubicBezTo>
                    <a:pt x="239912" y="265498"/>
                    <a:pt x="284388" y="261631"/>
                    <a:pt x="328220" y="266143"/>
                  </a:cubicBezTo>
                  <a:cubicBezTo>
                    <a:pt x="357870" y="269366"/>
                    <a:pt x="391389" y="280968"/>
                    <a:pt x="401702" y="312553"/>
                  </a:cubicBezTo>
                  <a:cubicBezTo>
                    <a:pt x="406214" y="326734"/>
                    <a:pt x="406214" y="342203"/>
                    <a:pt x="406214" y="357029"/>
                  </a:cubicBezTo>
                  <a:cubicBezTo>
                    <a:pt x="406214" y="375722"/>
                    <a:pt x="405569" y="394415"/>
                    <a:pt x="405569" y="413107"/>
                  </a:cubicBezTo>
                  <a:cubicBezTo>
                    <a:pt x="405569" y="416330"/>
                    <a:pt x="405569" y="420198"/>
                    <a:pt x="406859" y="422776"/>
                  </a:cubicBezTo>
                  <a:cubicBezTo>
                    <a:pt x="412015" y="431800"/>
                    <a:pt x="426196" y="427933"/>
                    <a:pt x="432642" y="419553"/>
                  </a:cubicBezTo>
                  <a:cubicBezTo>
                    <a:pt x="455202" y="389902"/>
                    <a:pt x="482919" y="342203"/>
                    <a:pt x="490009" y="305462"/>
                  </a:cubicBezTo>
                  <a:cubicBezTo>
                    <a:pt x="495811" y="275812"/>
                    <a:pt x="485498" y="241004"/>
                    <a:pt x="497744" y="212643"/>
                  </a:cubicBezTo>
                  <a:cubicBezTo>
                    <a:pt x="506124" y="193950"/>
                    <a:pt x="509992" y="166877"/>
                    <a:pt x="525461" y="153986"/>
                  </a:cubicBezTo>
                  <a:cubicBezTo>
                    <a:pt x="546733" y="135937"/>
                    <a:pt x="568004" y="117245"/>
                    <a:pt x="579606" y="92106"/>
                  </a:cubicBezTo>
                  <a:cubicBezTo>
                    <a:pt x="591209" y="66967"/>
                    <a:pt x="590564" y="34094"/>
                    <a:pt x="569938" y="15401"/>
                  </a:cubicBezTo>
                  <a:cubicBezTo>
                    <a:pt x="550600" y="-2648"/>
                    <a:pt x="520950" y="-2003"/>
                    <a:pt x="495166" y="3154"/>
                  </a:cubicBezTo>
                  <a:cubicBezTo>
                    <a:pt x="469383" y="8310"/>
                    <a:pt x="443600" y="17979"/>
                    <a:pt x="417816" y="14756"/>
                  </a:cubicBezTo>
                  <a:cubicBezTo>
                    <a:pt x="406859" y="13467"/>
                    <a:pt x="395256" y="9599"/>
                    <a:pt x="384298" y="10244"/>
                  </a:cubicBezTo>
                  <a:cubicBezTo>
                    <a:pt x="346912" y="12178"/>
                    <a:pt x="295346" y="37316"/>
                    <a:pt x="266984" y="61811"/>
                  </a:cubicBezTo>
                  <a:cubicBezTo>
                    <a:pt x="240557" y="85015"/>
                    <a:pt x="217352" y="112088"/>
                    <a:pt x="185122" y="126269"/>
                  </a:cubicBezTo>
                  <a:cubicBezTo>
                    <a:pt x="159339" y="137227"/>
                    <a:pt x="130333" y="138516"/>
                    <a:pt x="104550" y="148184"/>
                  </a:cubicBezTo>
                  <a:cubicBezTo>
                    <a:pt x="60718" y="163654"/>
                    <a:pt x="25266" y="201040"/>
                    <a:pt x="9796" y="244872"/>
                  </a:cubicBezTo>
                  <a:cubicBezTo>
                    <a:pt x="-7607" y="294504"/>
                    <a:pt x="-3095" y="356384"/>
                    <a:pt x="33646" y="395059"/>
                  </a:cubicBezTo>
                  <a:cubicBezTo>
                    <a:pt x="52339" y="414397"/>
                    <a:pt x="67164" y="436312"/>
                    <a:pt x="81989" y="458228"/>
                  </a:cubicBezTo>
                  <a:cubicBezTo>
                    <a:pt x="87146" y="465963"/>
                    <a:pt x="117441" y="493680"/>
                    <a:pt x="115508" y="464674"/>
                  </a:cubicBezTo>
                  <a:cubicBezTo>
                    <a:pt x="113574" y="442114"/>
                    <a:pt x="104550" y="420198"/>
                    <a:pt x="103261" y="396993"/>
                  </a:cubicBezTo>
                  <a:cubicBezTo>
                    <a:pt x="98749" y="342203"/>
                    <a:pt x="140646" y="300306"/>
                    <a:pt x="189635" y="282257"/>
                  </a:cubicBezTo>
                  <a:close/>
                </a:path>
              </a:pathLst>
            </a:custGeom>
            <a:solidFill>
              <a:srgbClr val="012263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18B696EE-D2BC-4D32-9F3C-DB5DCCF3D3F7}"/>
                </a:ext>
              </a:extLst>
            </p:cNvPr>
            <p:cNvSpPr/>
            <p:nvPr/>
          </p:nvSpPr>
          <p:spPr>
            <a:xfrm>
              <a:off x="4825397" y="3284016"/>
              <a:ext cx="1651465" cy="1651465"/>
            </a:xfrm>
            <a:custGeom>
              <a:avLst/>
              <a:gdLst>
                <a:gd name="connsiteX0" fmla="*/ 1337269 w 1779044"/>
                <a:gd name="connsiteY0" fmla="*/ 445756 h 1779044"/>
                <a:gd name="connsiteX1" fmla="*/ 1337269 w 1779044"/>
                <a:gd name="connsiteY1" fmla="*/ 1337269 h 1779044"/>
                <a:gd name="connsiteX2" fmla="*/ 445756 w 1779044"/>
                <a:gd name="connsiteY2" fmla="*/ 1337269 h 1779044"/>
                <a:gd name="connsiteX3" fmla="*/ 445756 w 1779044"/>
                <a:gd name="connsiteY3" fmla="*/ 445756 h 1779044"/>
                <a:gd name="connsiteX4" fmla="*/ 1337269 w 1779044"/>
                <a:gd name="connsiteY4" fmla="*/ 445756 h 1779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79044" h="1779044">
                  <a:moveTo>
                    <a:pt x="1337269" y="445756"/>
                  </a:moveTo>
                  <a:cubicBezTo>
                    <a:pt x="1583453" y="691941"/>
                    <a:pt x="1583453" y="1091084"/>
                    <a:pt x="1337269" y="1337269"/>
                  </a:cubicBezTo>
                  <a:cubicBezTo>
                    <a:pt x="1091085" y="1583453"/>
                    <a:pt x="691941" y="1583453"/>
                    <a:pt x="445756" y="1337269"/>
                  </a:cubicBezTo>
                  <a:cubicBezTo>
                    <a:pt x="199572" y="1091084"/>
                    <a:pt x="199572" y="691940"/>
                    <a:pt x="445756" y="445756"/>
                  </a:cubicBezTo>
                  <a:cubicBezTo>
                    <a:pt x="691941" y="199572"/>
                    <a:pt x="1091085" y="199572"/>
                    <a:pt x="1337269" y="445756"/>
                  </a:cubicBezTo>
                  <a:close/>
                </a:path>
              </a:pathLst>
            </a:custGeom>
            <a:solidFill>
              <a:srgbClr val="B3CCFF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76A37A31-E441-438E-8DD0-531D0559F66C}"/>
                </a:ext>
              </a:extLst>
            </p:cNvPr>
            <p:cNvSpPr/>
            <p:nvPr/>
          </p:nvSpPr>
          <p:spPr>
            <a:xfrm>
              <a:off x="5032500" y="3509808"/>
              <a:ext cx="1202698" cy="1202698"/>
            </a:xfrm>
            <a:custGeom>
              <a:avLst/>
              <a:gdLst>
                <a:gd name="connsiteX0" fmla="*/ 649094 w 1295608"/>
                <a:gd name="connsiteY0" fmla="*/ 1298187 h 1295608"/>
                <a:gd name="connsiteX1" fmla="*/ 396418 w 1295608"/>
                <a:gd name="connsiteY1" fmla="*/ 1247265 h 1295608"/>
                <a:gd name="connsiteX2" fmla="*/ 190152 w 1295608"/>
                <a:gd name="connsiteY2" fmla="*/ 1108035 h 1295608"/>
                <a:gd name="connsiteX3" fmla="*/ 50922 w 1295608"/>
                <a:gd name="connsiteY3" fmla="*/ 901769 h 1295608"/>
                <a:gd name="connsiteX4" fmla="*/ 0 w 1295608"/>
                <a:gd name="connsiteY4" fmla="*/ 649093 h 1295608"/>
                <a:gd name="connsiteX5" fmla="*/ 50922 w 1295608"/>
                <a:gd name="connsiteY5" fmla="*/ 396418 h 1295608"/>
                <a:gd name="connsiteX6" fmla="*/ 190152 w 1295608"/>
                <a:gd name="connsiteY6" fmla="*/ 190152 h 1295608"/>
                <a:gd name="connsiteX7" fmla="*/ 396418 w 1295608"/>
                <a:gd name="connsiteY7" fmla="*/ 50922 h 1295608"/>
                <a:gd name="connsiteX8" fmla="*/ 649094 w 1295608"/>
                <a:gd name="connsiteY8" fmla="*/ 0 h 1295608"/>
                <a:gd name="connsiteX9" fmla="*/ 901769 w 1295608"/>
                <a:gd name="connsiteY9" fmla="*/ 50922 h 1295608"/>
                <a:gd name="connsiteX10" fmla="*/ 1108035 w 1295608"/>
                <a:gd name="connsiteY10" fmla="*/ 190152 h 1295608"/>
                <a:gd name="connsiteX11" fmla="*/ 1247265 w 1295608"/>
                <a:gd name="connsiteY11" fmla="*/ 396418 h 1295608"/>
                <a:gd name="connsiteX12" fmla="*/ 1298187 w 1295608"/>
                <a:gd name="connsiteY12" fmla="*/ 649093 h 1295608"/>
                <a:gd name="connsiteX13" fmla="*/ 1247265 w 1295608"/>
                <a:gd name="connsiteY13" fmla="*/ 901769 h 1295608"/>
                <a:gd name="connsiteX14" fmla="*/ 1108035 w 1295608"/>
                <a:gd name="connsiteY14" fmla="*/ 1108035 h 1295608"/>
                <a:gd name="connsiteX15" fmla="*/ 901769 w 1295608"/>
                <a:gd name="connsiteY15" fmla="*/ 1247265 h 1295608"/>
                <a:gd name="connsiteX16" fmla="*/ 649094 w 1295608"/>
                <a:gd name="connsiteY16" fmla="*/ 1298187 h 1295608"/>
                <a:gd name="connsiteX17" fmla="*/ 649094 w 1295608"/>
                <a:gd name="connsiteY17" fmla="*/ 63814 h 1295608"/>
                <a:gd name="connsiteX18" fmla="*/ 235917 w 1295608"/>
                <a:gd name="connsiteY18" fmla="*/ 235272 h 1295608"/>
                <a:gd name="connsiteX19" fmla="*/ 64458 w 1295608"/>
                <a:gd name="connsiteY19" fmla="*/ 648449 h 1295608"/>
                <a:gd name="connsiteX20" fmla="*/ 235917 w 1295608"/>
                <a:gd name="connsiteY20" fmla="*/ 1061625 h 1295608"/>
                <a:gd name="connsiteX21" fmla="*/ 649094 w 1295608"/>
                <a:gd name="connsiteY21" fmla="*/ 1233084 h 1295608"/>
                <a:gd name="connsiteX22" fmla="*/ 1062270 w 1295608"/>
                <a:gd name="connsiteY22" fmla="*/ 1061625 h 1295608"/>
                <a:gd name="connsiteX23" fmla="*/ 1233729 w 1295608"/>
                <a:gd name="connsiteY23" fmla="*/ 648449 h 1295608"/>
                <a:gd name="connsiteX24" fmla="*/ 1062270 w 1295608"/>
                <a:gd name="connsiteY24" fmla="*/ 235272 h 1295608"/>
                <a:gd name="connsiteX25" fmla="*/ 649094 w 1295608"/>
                <a:gd name="connsiteY25" fmla="*/ 63814 h 1295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295608" h="1295608">
                  <a:moveTo>
                    <a:pt x="649094" y="1298187"/>
                  </a:moveTo>
                  <a:cubicBezTo>
                    <a:pt x="561430" y="1298187"/>
                    <a:pt x="476345" y="1280783"/>
                    <a:pt x="396418" y="1247265"/>
                  </a:cubicBezTo>
                  <a:cubicBezTo>
                    <a:pt x="319068" y="1214391"/>
                    <a:pt x="249453" y="1167981"/>
                    <a:pt x="190152" y="1108035"/>
                  </a:cubicBezTo>
                  <a:cubicBezTo>
                    <a:pt x="130206" y="1048089"/>
                    <a:pt x="83796" y="979119"/>
                    <a:pt x="50922" y="901769"/>
                  </a:cubicBezTo>
                  <a:cubicBezTo>
                    <a:pt x="16759" y="821841"/>
                    <a:pt x="0" y="736756"/>
                    <a:pt x="0" y="649093"/>
                  </a:cubicBezTo>
                  <a:cubicBezTo>
                    <a:pt x="0" y="561430"/>
                    <a:pt x="17404" y="476346"/>
                    <a:pt x="50922" y="396418"/>
                  </a:cubicBezTo>
                  <a:cubicBezTo>
                    <a:pt x="83796" y="319068"/>
                    <a:pt x="130206" y="249453"/>
                    <a:pt x="190152" y="190152"/>
                  </a:cubicBezTo>
                  <a:cubicBezTo>
                    <a:pt x="250098" y="130205"/>
                    <a:pt x="319068" y="83796"/>
                    <a:pt x="396418" y="50922"/>
                  </a:cubicBezTo>
                  <a:cubicBezTo>
                    <a:pt x="476345" y="16759"/>
                    <a:pt x="561430" y="0"/>
                    <a:pt x="649094" y="0"/>
                  </a:cubicBezTo>
                  <a:cubicBezTo>
                    <a:pt x="736757" y="0"/>
                    <a:pt x="821841" y="17404"/>
                    <a:pt x="901769" y="50922"/>
                  </a:cubicBezTo>
                  <a:cubicBezTo>
                    <a:pt x="979119" y="83796"/>
                    <a:pt x="1048734" y="130205"/>
                    <a:pt x="1108035" y="190152"/>
                  </a:cubicBezTo>
                  <a:cubicBezTo>
                    <a:pt x="1167982" y="250098"/>
                    <a:pt x="1214391" y="319068"/>
                    <a:pt x="1247265" y="396418"/>
                  </a:cubicBezTo>
                  <a:cubicBezTo>
                    <a:pt x="1281428" y="476346"/>
                    <a:pt x="1298187" y="561430"/>
                    <a:pt x="1298187" y="649093"/>
                  </a:cubicBezTo>
                  <a:cubicBezTo>
                    <a:pt x="1298187" y="736756"/>
                    <a:pt x="1280783" y="821841"/>
                    <a:pt x="1247265" y="901769"/>
                  </a:cubicBezTo>
                  <a:cubicBezTo>
                    <a:pt x="1214391" y="979119"/>
                    <a:pt x="1167982" y="1048734"/>
                    <a:pt x="1108035" y="1108035"/>
                  </a:cubicBezTo>
                  <a:cubicBezTo>
                    <a:pt x="1048089" y="1167981"/>
                    <a:pt x="979119" y="1214391"/>
                    <a:pt x="901769" y="1247265"/>
                  </a:cubicBezTo>
                  <a:cubicBezTo>
                    <a:pt x="821841" y="1280783"/>
                    <a:pt x="736757" y="1298187"/>
                    <a:pt x="649094" y="1298187"/>
                  </a:cubicBezTo>
                  <a:close/>
                  <a:moveTo>
                    <a:pt x="649094" y="63814"/>
                  </a:moveTo>
                  <a:cubicBezTo>
                    <a:pt x="493105" y="63814"/>
                    <a:pt x="346140" y="124404"/>
                    <a:pt x="235917" y="235272"/>
                  </a:cubicBezTo>
                  <a:cubicBezTo>
                    <a:pt x="125693" y="345495"/>
                    <a:pt x="64458" y="492460"/>
                    <a:pt x="64458" y="648449"/>
                  </a:cubicBezTo>
                  <a:cubicBezTo>
                    <a:pt x="64458" y="804438"/>
                    <a:pt x="125049" y="951402"/>
                    <a:pt x="235917" y="1061625"/>
                  </a:cubicBezTo>
                  <a:cubicBezTo>
                    <a:pt x="346140" y="1171849"/>
                    <a:pt x="493105" y="1233084"/>
                    <a:pt x="649094" y="1233084"/>
                  </a:cubicBezTo>
                  <a:cubicBezTo>
                    <a:pt x="805082" y="1233084"/>
                    <a:pt x="952047" y="1172494"/>
                    <a:pt x="1062270" y="1061625"/>
                  </a:cubicBezTo>
                  <a:cubicBezTo>
                    <a:pt x="1172493" y="951402"/>
                    <a:pt x="1233729" y="804438"/>
                    <a:pt x="1233729" y="648449"/>
                  </a:cubicBezTo>
                  <a:cubicBezTo>
                    <a:pt x="1233729" y="492460"/>
                    <a:pt x="1173138" y="345495"/>
                    <a:pt x="1062270" y="235272"/>
                  </a:cubicBezTo>
                  <a:cubicBezTo>
                    <a:pt x="952047" y="125049"/>
                    <a:pt x="805082" y="63814"/>
                    <a:pt x="649094" y="63814"/>
                  </a:cubicBezTo>
                  <a:close/>
                </a:path>
              </a:pathLst>
            </a:custGeom>
            <a:solidFill>
              <a:srgbClr val="587BC9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F2798C2C-6503-433A-BC9F-4132AF886983}"/>
                </a:ext>
              </a:extLst>
            </p:cNvPr>
            <p:cNvSpPr/>
            <p:nvPr/>
          </p:nvSpPr>
          <p:spPr>
            <a:xfrm>
              <a:off x="5604528" y="3538529"/>
              <a:ext cx="59836" cy="1142861"/>
            </a:xfrm>
            <a:custGeom>
              <a:avLst/>
              <a:gdLst>
                <a:gd name="connsiteX0" fmla="*/ 0 w 64458"/>
                <a:gd name="connsiteY0" fmla="*/ 0 h 1231150"/>
                <a:gd name="connsiteX1" fmla="*/ 65102 w 64458"/>
                <a:gd name="connsiteY1" fmla="*/ 0 h 1231150"/>
                <a:gd name="connsiteX2" fmla="*/ 65102 w 64458"/>
                <a:gd name="connsiteY2" fmla="*/ 1234373 h 1231150"/>
                <a:gd name="connsiteX3" fmla="*/ 0 w 64458"/>
                <a:gd name="connsiteY3" fmla="*/ 1234373 h 1231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58" h="1231150">
                  <a:moveTo>
                    <a:pt x="0" y="0"/>
                  </a:moveTo>
                  <a:lnTo>
                    <a:pt x="65102" y="0"/>
                  </a:lnTo>
                  <a:lnTo>
                    <a:pt x="65102" y="1234373"/>
                  </a:lnTo>
                  <a:lnTo>
                    <a:pt x="0" y="1234373"/>
                  </a:lnTo>
                  <a:close/>
                </a:path>
              </a:pathLst>
            </a:custGeom>
            <a:solidFill>
              <a:srgbClr val="587BC9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916EE172-A18E-4F94-BECB-1AE5FE2E7EC3}"/>
                </a:ext>
              </a:extLst>
            </p:cNvPr>
            <p:cNvSpPr/>
            <p:nvPr/>
          </p:nvSpPr>
          <p:spPr>
            <a:xfrm>
              <a:off x="5095926" y="3893953"/>
              <a:ext cx="1083025" cy="59836"/>
            </a:xfrm>
            <a:custGeom>
              <a:avLst/>
              <a:gdLst>
                <a:gd name="connsiteX0" fmla="*/ 0 w 1166692"/>
                <a:gd name="connsiteY0" fmla="*/ 0 h 64458"/>
                <a:gd name="connsiteX1" fmla="*/ 1172494 w 1166692"/>
                <a:gd name="connsiteY1" fmla="*/ 0 h 64458"/>
                <a:gd name="connsiteX2" fmla="*/ 1172494 w 1166692"/>
                <a:gd name="connsiteY2" fmla="*/ 65103 h 64458"/>
                <a:gd name="connsiteX3" fmla="*/ 0 w 1166692"/>
                <a:gd name="connsiteY3" fmla="*/ 65103 h 64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66692" h="64458">
                  <a:moveTo>
                    <a:pt x="0" y="0"/>
                  </a:moveTo>
                  <a:lnTo>
                    <a:pt x="1172494" y="0"/>
                  </a:lnTo>
                  <a:lnTo>
                    <a:pt x="1172494" y="65103"/>
                  </a:lnTo>
                  <a:lnTo>
                    <a:pt x="0" y="65103"/>
                  </a:lnTo>
                  <a:close/>
                </a:path>
              </a:pathLst>
            </a:custGeom>
            <a:solidFill>
              <a:srgbClr val="587BC9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718D2745-E25D-49C3-90C9-05439D14AA2D}"/>
                </a:ext>
              </a:extLst>
            </p:cNvPr>
            <p:cNvSpPr/>
            <p:nvPr/>
          </p:nvSpPr>
          <p:spPr>
            <a:xfrm>
              <a:off x="5077974" y="4241598"/>
              <a:ext cx="1106960" cy="59836"/>
            </a:xfrm>
            <a:custGeom>
              <a:avLst/>
              <a:gdLst>
                <a:gd name="connsiteX0" fmla="*/ 0 w 1192475"/>
                <a:gd name="connsiteY0" fmla="*/ 0 h 64458"/>
                <a:gd name="connsiteX1" fmla="*/ 1193120 w 1192475"/>
                <a:gd name="connsiteY1" fmla="*/ 0 h 64458"/>
                <a:gd name="connsiteX2" fmla="*/ 1193120 w 1192475"/>
                <a:gd name="connsiteY2" fmla="*/ 65103 h 64458"/>
                <a:gd name="connsiteX3" fmla="*/ 0 w 1192475"/>
                <a:gd name="connsiteY3" fmla="*/ 65103 h 64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2475" h="64458">
                  <a:moveTo>
                    <a:pt x="0" y="0"/>
                  </a:moveTo>
                  <a:lnTo>
                    <a:pt x="1193120" y="0"/>
                  </a:lnTo>
                  <a:lnTo>
                    <a:pt x="1193120" y="65103"/>
                  </a:lnTo>
                  <a:lnTo>
                    <a:pt x="0" y="65103"/>
                  </a:lnTo>
                  <a:close/>
                </a:path>
              </a:pathLst>
            </a:custGeom>
            <a:solidFill>
              <a:srgbClr val="587BC9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A4DA40BC-D330-4BAE-B641-EF23BF6C2F1D}"/>
                </a:ext>
              </a:extLst>
            </p:cNvPr>
            <p:cNvSpPr/>
            <p:nvPr/>
          </p:nvSpPr>
          <p:spPr>
            <a:xfrm>
              <a:off x="5280816" y="3512800"/>
              <a:ext cx="359014" cy="1190729"/>
            </a:xfrm>
            <a:custGeom>
              <a:avLst/>
              <a:gdLst>
                <a:gd name="connsiteX0" fmla="*/ 352586 w 386748"/>
                <a:gd name="connsiteY0" fmla="*/ 1287874 h 1282716"/>
                <a:gd name="connsiteX1" fmla="*/ 175971 w 386748"/>
                <a:gd name="connsiteY1" fmla="*/ 1113192 h 1282716"/>
                <a:gd name="connsiteX2" fmla="*/ 55434 w 386748"/>
                <a:gd name="connsiteY2" fmla="*/ 905637 h 1282716"/>
                <a:gd name="connsiteX3" fmla="*/ 0 w 386748"/>
                <a:gd name="connsiteY3" fmla="*/ 624599 h 1282716"/>
                <a:gd name="connsiteX4" fmla="*/ 55434 w 386748"/>
                <a:gd name="connsiteY4" fmla="*/ 349363 h 1282716"/>
                <a:gd name="connsiteX5" fmla="*/ 177260 w 386748"/>
                <a:gd name="connsiteY5" fmla="*/ 154700 h 1282716"/>
                <a:gd name="connsiteX6" fmla="*/ 355164 w 386748"/>
                <a:gd name="connsiteY6" fmla="*/ 0 h 1282716"/>
                <a:gd name="connsiteX7" fmla="*/ 388038 w 386748"/>
                <a:gd name="connsiteY7" fmla="*/ 56723 h 1282716"/>
                <a:gd name="connsiteX8" fmla="*/ 225604 w 386748"/>
                <a:gd name="connsiteY8" fmla="*/ 199176 h 1282716"/>
                <a:gd name="connsiteX9" fmla="*/ 115380 w 386748"/>
                <a:gd name="connsiteY9" fmla="*/ 376436 h 1282716"/>
                <a:gd name="connsiteX10" fmla="*/ 65747 w 386748"/>
                <a:gd name="connsiteY10" fmla="*/ 624599 h 1282716"/>
                <a:gd name="connsiteX11" fmla="*/ 116025 w 386748"/>
                <a:gd name="connsiteY11" fmla="*/ 881143 h 1282716"/>
                <a:gd name="connsiteX12" fmla="*/ 227537 w 386748"/>
                <a:gd name="connsiteY12" fmla="*/ 1073228 h 1282716"/>
                <a:gd name="connsiteX13" fmla="*/ 389327 w 386748"/>
                <a:gd name="connsiteY13" fmla="*/ 1234373 h 1282716"/>
                <a:gd name="connsiteX14" fmla="*/ 352586 w 386748"/>
                <a:gd name="connsiteY14" fmla="*/ 1287874 h 1282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6748" h="1282716">
                  <a:moveTo>
                    <a:pt x="352586" y="1287874"/>
                  </a:moveTo>
                  <a:cubicBezTo>
                    <a:pt x="348718" y="1285295"/>
                    <a:pt x="262989" y="1224705"/>
                    <a:pt x="175971" y="1113192"/>
                  </a:cubicBezTo>
                  <a:cubicBezTo>
                    <a:pt x="125049" y="1047445"/>
                    <a:pt x="84440" y="977830"/>
                    <a:pt x="55434" y="905637"/>
                  </a:cubicBezTo>
                  <a:cubicBezTo>
                    <a:pt x="18693" y="814751"/>
                    <a:pt x="0" y="720642"/>
                    <a:pt x="0" y="624599"/>
                  </a:cubicBezTo>
                  <a:cubicBezTo>
                    <a:pt x="0" y="528557"/>
                    <a:pt x="18693" y="436381"/>
                    <a:pt x="55434" y="349363"/>
                  </a:cubicBezTo>
                  <a:cubicBezTo>
                    <a:pt x="85085" y="280393"/>
                    <a:pt x="125693" y="214646"/>
                    <a:pt x="177260" y="154700"/>
                  </a:cubicBezTo>
                  <a:cubicBezTo>
                    <a:pt x="264278" y="52856"/>
                    <a:pt x="351297" y="1934"/>
                    <a:pt x="355164" y="0"/>
                  </a:cubicBezTo>
                  <a:lnTo>
                    <a:pt x="388038" y="56723"/>
                  </a:lnTo>
                  <a:cubicBezTo>
                    <a:pt x="387393" y="57368"/>
                    <a:pt x="306176" y="105067"/>
                    <a:pt x="225604" y="199176"/>
                  </a:cubicBezTo>
                  <a:cubicBezTo>
                    <a:pt x="179194" y="253965"/>
                    <a:pt x="141808" y="313266"/>
                    <a:pt x="115380" y="376436"/>
                  </a:cubicBezTo>
                  <a:cubicBezTo>
                    <a:pt x="82506" y="454430"/>
                    <a:pt x="65747" y="538225"/>
                    <a:pt x="65747" y="624599"/>
                  </a:cubicBezTo>
                  <a:cubicBezTo>
                    <a:pt x="65747" y="711618"/>
                    <a:pt x="82506" y="797992"/>
                    <a:pt x="116025" y="881143"/>
                  </a:cubicBezTo>
                  <a:cubicBezTo>
                    <a:pt x="143097" y="947535"/>
                    <a:pt x="180483" y="1012637"/>
                    <a:pt x="227537" y="1073228"/>
                  </a:cubicBezTo>
                  <a:cubicBezTo>
                    <a:pt x="308110" y="1177006"/>
                    <a:pt x="388683" y="1233729"/>
                    <a:pt x="389327" y="1234373"/>
                  </a:cubicBezTo>
                  <a:lnTo>
                    <a:pt x="352586" y="1287874"/>
                  </a:lnTo>
                  <a:close/>
                </a:path>
              </a:pathLst>
            </a:custGeom>
            <a:solidFill>
              <a:srgbClr val="587BC9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70A612FF-EC62-4ADC-98E1-FC1A085C37AD}"/>
                </a:ext>
              </a:extLst>
            </p:cNvPr>
            <p:cNvSpPr/>
            <p:nvPr/>
          </p:nvSpPr>
          <p:spPr>
            <a:xfrm>
              <a:off x="5635045" y="3513397"/>
              <a:ext cx="359014" cy="1190729"/>
            </a:xfrm>
            <a:custGeom>
              <a:avLst/>
              <a:gdLst>
                <a:gd name="connsiteX0" fmla="*/ 37386 w 386748"/>
                <a:gd name="connsiteY0" fmla="*/ 1287229 h 1282716"/>
                <a:gd name="connsiteX1" fmla="*/ 0 w 386748"/>
                <a:gd name="connsiteY1" fmla="*/ 1233729 h 1282716"/>
                <a:gd name="connsiteX2" fmla="*/ 163079 w 386748"/>
                <a:gd name="connsiteY2" fmla="*/ 1071294 h 1282716"/>
                <a:gd name="connsiteX3" fmla="*/ 273947 w 386748"/>
                <a:gd name="connsiteY3" fmla="*/ 879854 h 1282716"/>
                <a:gd name="connsiteX4" fmla="*/ 324224 w 386748"/>
                <a:gd name="connsiteY4" fmla="*/ 624600 h 1282716"/>
                <a:gd name="connsiteX5" fmla="*/ 273947 w 386748"/>
                <a:gd name="connsiteY5" fmla="*/ 375146 h 1282716"/>
                <a:gd name="connsiteX6" fmla="*/ 163079 w 386748"/>
                <a:gd name="connsiteY6" fmla="*/ 197242 h 1282716"/>
                <a:gd name="connsiteX7" fmla="*/ 2578 w 386748"/>
                <a:gd name="connsiteY7" fmla="*/ 56723 h 1282716"/>
                <a:gd name="connsiteX8" fmla="*/ 35452 w 386748"/>
                <a:gd name="connsiteY8" fmla="*/ 0 h 1282716"/>
                <a:gd name="connsiteX9" fmla="*/ 213356 w 386748"/>
                <a:gd name="connsiteY9" fmla="*/ 154700 h 1282716"/>
                <a:gd name="connsiteX10" fmla="*/ 335182 w 386748"/>
                <a:gd name="connsiteY10" fmla="*/ 349363 h 1282716"/>
                <a:gd name="connsiteX11" fmla="*/ 390616 w 386748"/>
                <a:gd name="connsiteY11" fmla="*/ 624600 h 1282716"/>
                <a:gd name="connsiteX12" fmla="*/ 335182 w 386748"/>
                <a:gd name="connsiteY12" fmla="*/ 905637 h 1282716"/>
                <a:gd name="connsiteX13" fmla="*/ 214646 w 386748"/>
                <a:gd name="connsiteY13" fmla="*/ 1113192 h 1282716"/>
                <a:gd name="connsiteX14" fmla="*/ 37386 w 386748"/>
                <a:gd name="connsiteY14" fmla="*/ 1287229 h 1282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6748" h="1282716">
                  <a:moveTo>
                    <a:pt x="37386" y="1287229"/>
                  </a:moveTo>
                  <a:lnTo>
                    <a:pt x="0" y="1233729"/>
                  </a:lnTo>
                  <a:cubicBezTo>
                    <a:pt x="644" y="1233084"/>
                    <a:pt x="82506" y="1175717"/>
                    <a:pt x="163079" y="1071294"/>
                  </a:cubicBezTo>
                  <a:cubicBezTo>
                    <a:pt x="210133" y="1010704"/>
                    <a:pt x="247519" y="946246"/>
                    <a:pt x="273947" y="879854"/>
                  </a:cubicBezTo>
                  <a:cubicBezTo>
                    <a:pt x="306821" y="797347"/>
                    <a:pt x="324224" y="711618"/>
                    <a:pt x="324224" y="624600"/>
                  </a:cubicBezTo>
                  <a:cubicBezTo>
                    <a:pt x="324224" y="537581"/>
                    <a:pt x="307465" y="453785"/>
                    <a:pt x="273947" y="375146"/>
                  </a:cubicBezTo>
                  <a:cubicBezTo>
                    <a:pt x="246875" y="311978"/>
                    <a:pt x="210133" y="252676"/>
                    <a:pt x="163079" y="197242"/>
                  </a:cubicBezTo>
                  <a:cubicBezTo>
                    <a:pt x="83151" y="103778"/>
                    <a:pt x="3223" y="57368"/>
                    <a:pt x="2578" y="56723"/>
                  </a:cubicBezTo>
                  <a:lnTo>
                    <a:pt x="35452" y="0"/>
                  </a:lnTo>
                  <a:cubicBezTo>
                    <a:pt x="39319" y="1934"/>
                    <a:pt x="125693" y="52856"/>
                    <a:pt x="213356" y="154700"/>
                  </a:cubicBezTo>
                  <a:cubicBezTo>
                    <a:pt x="264923" y="214646"/>
                    <a:pt x="305531" y="280393"/>
                    <a:pt x="335182" y="349363"/>
                  </a:cubicBezTo>
                  <a:cubicBezTo>
                    <a:pt x="371923" y="435737"/>
                    <a:pt x="390616" y="528557"/>
                    <a:pt x="390616" y="624600"/>
                  </a:cubicBezTo>
                  <a:cubicBezTo>
                    <a:pt x="390616" y="719998"/>
                    <a:pt x="371923" y="814751"/>
                    <a:pt x="335182" y="905637"/>
                  </a:cubicBezTo>
                  <a:cubicBezTo>
                    <a:pt x="306176" y="977830"/>
                    <a:pt x="265567" y="1047445"/>
                    <a:pt x="214646" y="1113192"/>
                  </a:cubicBezTo>
                  <a:cubicBezTo>
                    <a:pt x="126982" y="1224705"/>
                    <a:pt x="41253" y="1284651"/>
                    <a:pt x="37386" y="1287229"/>
                  </a:cubicBezTo>
                  <a:close/>
                </a:path>
              </a:pathLst>
            </a:custGeom>
            <a:solidFill>
              <a:srgbClr val="587BC9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1B285F49-1672-4A4C-B6B6-3F67CC764990}"/>
                </a:ext>
              </a:extLst>
            </p:cNvPr>
            <p:cNvSpPr/>
            <p:nvPr/>
          </p:nvSpPr>
          <p:spPr>
            <a:xfrm>
              <a:off x="5230359" y="4119358"/>
              <a:ext cx="185490" cy="185490"/>
            </a:xfrm>
            <a:custGeom>
              <a:avLst/>
              <a:gdLst>
                <a:gd name="connsiteX0" fmla="*/ 120062 w 199820"/>
                <a:gd name="connsiteY0" fmla="*/ 19256 h 199820"/>
                <a:gd name="connsiteX1" fmla="*/ 182356 w 199820"/>
                <a:gd name="connsiteY1" fmla="*/ 120062 h 199820"/>
                <a:gd name="connsiteX2" fmla="*/ 81550 w 199820"/>
                <a:gd name="connsiteY2" fmla="*/ 182356 h 199820"/>
                <a:gd name="connsiteX3" fmla="*/ 19256 w 199820"/>
                <a:gd name="connsiteY3" fmla="*/ 81550 h 199820"/>
                <a:gd name="connsiteX4" fmla="*/ 120062 w 199820"/>
                <a:gd name="connsiteY4" fmla="*/ 19256 h 199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9820" h="199820">
                  <a:moveTo>
                    <a:pt x="120062" y="19256"/>
                  </a:moveTo>
                  <a:cubicBezTo>
                    <a:pt x="165101" y="29891"/>
                    <a:pt x="192991" y="75024"/>
                    <a:pt x="182356" y="120062"/>
                  </a:cubicBezTo>
                  <a:cubicBezTo>
                    <a:pt x="171721" y="165101"/>
                    <a:pt x="126589" y="192991"/>
                    <a:pt x="81550" y="182356"/>
                  </a:cubicBezTo>
                  <a:cubicBezTo>
                    <a:pt x="36511" y="171721"/>
                    <a:pt x="8621" y="126588"/>
                    <a:pt x="19256" y="81550"/>
                  </a:cubicBezTo>
                  <a:cubicBezTo>
                    <a:pt x="29891" y="36511"/>
                    <a:pt x="75024" y="8621"/>
                    <a:pt x="120062" y="19256"/>
                  </a:cubicBezTo>
                  <a:close/>
                </a:path>
              </a:pathLst>
            </a:custGeom>
            <a:solidFill>
              <a:srgbClr val="0137A3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6D150215-5C54-46F7-9F58-36E5FD4385CD}"/>
                </a:ext>
              </a:extLst>
            </p:cNvPr>
            <p:cNvSpPr/>
            <p:nvPr/>
          </p:nvSpPr>
          <p:spPr>
            <a:xfrm>
              <a:off x="5238933" y="4127910"/>
              <a:ext cx="167540" cy="167540"/>
            </a:xfrm>
            <a:custGeom>
              <a:avLst/>
              <a:gdLst>
                <a:gd name="connsiteX0" fmla="*/ 91531 w 180482"/>
                <a:gd name="connsiteY0" fmla="*/ 183061 h 180482"/>
                <a:gd name="connsiteX1" fmla="*/ 0 w 180482"/>
                <a:gd name="connsiteY1" fmla="*/ 91531 h 180482"/>
                <a:gd name="connsiteX2" fmla="*/ 91531 w 180482"/>
                <a:gd name="connsiteY2" fmla="*/ 0 h 180482"/>
                <a:gd name="connsiteX3" fmla="*/ 183061 w 180482"/>
                <a:gd name="connsiteY3" fmla="*/ 91531 h 180482"/>
                <a:gd name="connsiteX4" fmla="*/ 91531 w 180482"/>
                <a:gd name="connsiteY4" fmla="*/ 183061 h 180482"/>
                <a:gd name="connsiteX5" fmla="*/ 91531 w 180482"/>
                <a:gd name="connsiteY5" fmla="*/ 15470 h 180482"/>
                <a:gd name="connsiteX6" fmla="*/ 16115 w 180482"/>
                <a:gd name="connsiteY6" fmla="*/ 90886 h 180482"/>
                <a:gd name="connsiteX7" fmla="*/ 91531 w 180482"/>
                <a:gd name="connsiteY7" fmla="*/ 166302 h 180482"/>
                <a:gd name="connsiteX8" fmla="*/ 166946 w 180482"/>
                <a:gd name="connsiteY8" fmla="*/ 90886 h 180482"/>
                <a:gd name="connsiteX9" fmla="*/ 91531 w 180482"/>
                <a:gd name="connsiteY9" fmla="*/ 15470 h 180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0482" h="180482">
                  <a:moveTo>
                    <a:pt x="91531" y="183061"/>
                  </a:moveTo>
                  <a:cubicBezTo>
                    <a:pt x="41253" y="183061"/>
                    <a:pt x="0" y="141808"/>
                    <a:pt x="0" y="91531"/>
                  </a:cubicBezTo>
                  <a:cubicBezTo>
                    <a:pt x="0" y="41253"/>
                    <a:pt x="41253" y="0"/>
                    <a:pt x="91531" y="0"/>
                  </a:cubicBezTo>
                  <a:cubicBezTo>
                    <a:pt x="141808" y="0"/>
                    <a:pt x="183061" y="41253"/>
                    <a:pt x="183061" y="91531"/>
                  </a:cubicBezTo>
                  <a:cubicBezTo>
                    <a:pt x="183061" y="141808"/>
                    <a:pt x="142452" y="183061"/>
                    <a:pt x="91531" y="183061"/>
                  </a:cubicBezTo>
                  <a:close/>
                  <a:moveTo>
                    <a:pt x="91531" y="15470"/>
                  </a:moveTo>
                  <a:cubicBezTo>
                    <a:pt x="50277" y="15470"/>
                    <a:pt x="16115" y="48988"/>
                    <a:pt x="16115" y="90886"/>
                  </a:cubicBezTo>
                  <a:cubicBezTo>
                    <a:pt x="16115" y="132139"/>
                    <a:pt x="49633" y="166302"/>
                    <a:pt x="91531" y="166302"/>
                  </a:cubicBezTo>
                  <a:cubicBezTo>
                    <a:pt x="132784" y="166302"/>
                    <a:pt x="166946" y="132784"/>
                    <a:pt x="166946" y="90886"/>
                  </a:cubicBezTo>
                  <a:cubicBezTo>
                    <a:pt x="166946" y="49633"/>
                    <a:pt x="133428" y="15470"/>
                    <a:pt x="91531" y="15470"/>
                  </a:cubicBezTo>
                  <a:close/>
                </a:path>
              </a:pathLst>
            </a:custGeom>
            <a:solidFill>
              <a:srgbClr val="B3CCFF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52B42D38-2E7B-4338-B49F-8DD5B319533B}"/>
                </a:ext>
              </a:extLst>
            </p:cNvPr>
            <p:cNvSpPr/>
            <p:nvPr/>
          </p:nvSpPr>
          <p:spPr>
            <a:xfrm>
              <a:off x="5785435" y="3819152"/>
              <a:ext cx="185490" cy="185490"/>
            </a:xfrm>
            <a:custGeom>
              <a:avLst/>
              <a:gdLst>
                <a:gd name="connsiteX0" fmla="*/ 182356 w 199820"/>
                <a:gd name="connsiteY0" fmla="*/ 81550 h 199820"/>
                <a:gd name="connsiteX1" fmla="*/ 120062 w 199820"/>
                <a:gd name="connsiteY1" fmla="*/ 182356 h 199820"/>
                <a:gd name="connsiteX2" fmla="*/ 19256 w 199820"/>
                <a:gd name="connsiteY2" fmla="*/ 120062 h 199820"/>
                <a:gd name="connsiteX3" fmla="*/ 81550 w 199820"/>
                <a:gd name="connsiteY3" fmla="*/ 19256 h 199820"/>
                <a:gd name="connsiteX4" fmla="*/ 182356 w 199820"/>
                <a:gd name="connsiteY4" fmla="*/ 81550 h 199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9820" h="199820">
                  <a:moveTo>
                    <a:pt x="182356" y="81550"/>
                  </a:moveTo>
                  <a:cubicBezTo>
                    <a:pt x="192991" y="126589"/>
                    <a:pt x="165101" y="171721"/>
                    <a:pt x="120062" y="182356"/>
                  </a:cubicBezTo>
                  <a:cubicBezTo>
                    <a:pt x="75024" y="192991"/>
                    <a:pt x="29891" y="165101"/>
                    <a:pt x="19256" y="120062"/>
                  </a:cubicBezTo>
                  <a:cubicBezTo>
                    <a:pt x="8621" y="75024"/>
                    <a:pt x="36511" y="29891"/>
                    <a:pt x="81550" y="19256"/>
                  </a:cubicBezTo>
                  <a:cubicBezTo>
                    <a:pt x="126589" y="8621"/>
                    <a:pt x="171721" y="36511"/>
                    <a:pt x="182356" y="81550"/>
                  </a:cubicBezTo>
                  <a:close/>
                </a:path>
              </a:pathLst>
            </a:custGeom>
            <a:solidFill>
              <a:srgbClr val="012263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82F32BFF-9CCD-472A-87CD-09887A6C390C}"/>
                </a:ext>
              </a:extLst>
            </p:cNvPr>
            <p:cNvSpPr/>
            <p:nvPr/>
          </p:nvSpPr>
          <p:spPr>
            <a:xfrm>
              <a:off x="5794207" y="3828133"/>
              <a:ext cx="167540" cy="167540"/>
            </a:xfrm>
            <a:custGeom>
              <a:avLst/>
              <a:gdLst>
                <a:gd name="connsiteX0" fmla="*/ 91531 w 180482"/>
                <a:gd name="connsiteY0" fmla="*/ 183061 h 180482"/>
                <a:gd name="connsiteX1" fmla="*/ 0 w 180482"/>
                <a:gd name="connsiteY1" fmla="*/ 91531 h 180482"/>
                <a:gd name="connsiteX2" fmla="*/ 91531 w 180482"/>
                <a:gd name="connsiteY2" fmla="*/ 0 h 180482"/>
                <a:gd name="connsiteX3" fmla="*/ 183061 w 180482"/>
                <a:gd name="connsiteY3" fmla="*/ 91531 h 180482"/>
                <a:gd name="connsiteX4" fmla="*/ 91531 w 180482"/>
                <a:gd name="connsiteY4" fmla="*/ 183061 h 180482"/>
                <a:gd name="connsiteX5" fmla="*/ 91531 w 180482"/>
                <a:gd name="connsiteY5" fmla="*/ 16115 h 180482"/>
                <a:gd name="connsiteX6" fmla="*/ 16115 w 180482"/>
                <a:gd name="connsiteY6" fmla="*/ 91531 h 180482"/>
                <a:gd name="connsiteX7" fmla="*/ 91531 w 180482"/>
                <a:gd name="connsiteY7" fmla="*/ 166947 h 180482"/>
                <a:gd name="connsiteX8" fmla="*/ 166947 w 180482"/>
                <a:gd name="connsiteY8" fmla="*/ 91531 h 180482"/>
                <a:gd name="connsiteX9" fmla="*/ 91531 w 180482"/>
                <a:gd name="connsiteY9" fmla="*/ 16115 h 180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0482" h="180482">
                  <a:moveTo>
                    <a:pt x="91531" y="183061"/>
                  </a:moveTo>
                  <a:cubicBezTo>
                    <a:pt x="41253" y="183061"/>
                    <a:pt x="0" y="141808"/>
                    <a:pt x="0" y="91531"/>
                  </a:cubicBezTo>
                  <a:cubicBezTo>
                    <a:pt x="0" y="41253"/>
                    <a:pt x="41253" y="0"/>
                    <a:pt x="91531" y="0"/>
                  </a:cubicBezTo>
                  <a:cubicBezTo>
                    <a:pt x="141808" y="0"/>
                    <a:pt x="183061" y="41253"/>
                    <a:pt x="183061" y="91531"/>
                  </a:cubicBezTo>
                  <a:cubicBezTo>
                    <a:pt x="183061" y="141808"/>
                    <a:pt x="141808" y="183061"/>
                    <a:pt x="91531" y="183061"/>
                  </a:cubicBezTo>
                  <a:close/>
                  <a:moveTo>
                    <a:pt x="91531" y="16115"/>
                  </a:moveTo>
                  <a:cubicBezTo>
                    <a:pt x="50277" y="16115"/>
                    <a:pt x="16115" y="49633"/>
                    <a:pt x="16115" y="91531"/>
                  </a:cubicBezTo>
                  <a:cubicBezTo>
                    <a:pt x="16115" y="132784"/>
                    <a:pt x="49633" y="166947"/>
                    <a:pt x="91531" y="166947"/>
                  </a:cubicBezTo>
                  <a:cubicBezTo>
                    <a:pt x="132784" y="166947"/>
                    <a:pt x="166947" y="133428"/>
                    <a:pt x="166947" y="91531"/>
                  </a:cubicBezTo>
                  <a:cubicBezTo>
                    <a:pt x="166302" y="50277"/>
                    <a:pt x="132784" y="16115"/>
                    <a:pt x="91531" y="16115"/>
                  </a:cubicBezTo>
                  <a:close/>
                </a:path>
              </a:pathLst>
            </a:custGeom>
            <a:solidFill>
              <a:srgbClr val="B3CCFF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AC9DABD1-9AAE-4FC6-8CBD-0915174AFA7B}"/>
                </a:ext>
              </a:extLst>
            </p:cNvPr>
            <p:cNvSpPr/>
            <p:nvPr/>
          </p:nvSpPr>
          <p:spPr>
            <a:xfrm>
              <a:off x="5840878" y="4194328"/>
              <a:ext cx="155573" cy="155573"/>
            </a:xfrm>
            <a:custGeom>
              <a:avLst/>
              <a:gdLst>
                <a:gd name="connsiteX0" fmla="*/ 167591 w 167591"/>
                <a:gd name="connsiteY0" fmla="*/ 83796 h 167591"/>
                <a:gd name="connsiteX1" fmla="*/ 83796 w 167591"/>
                <a:gd name="connsiteY1" fmla="*/ 167591 h 167591"/>
                <a:gd name="connsiteX2" fmla="*/ 0 w 167591"/>
                <a:gd name="connsiteY2" fmla="*/ 83796 h 167591"/>
                <a:gd name="connsiteX3" fmla="*/ 83796 w 167591"/>
                <a:gd name="connsiteY3" fmla="*/ 0 h 167591"/>
                <a:gd name="connsiteX4" fmla="*/ 167591 w 167591"/>
                <a:gd name="connsiteY4" fmla="*/ 83796 h 167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7591" h="167591">
                  <a:moveTo>
                    <a:pt x="167591" y="83796"/>
                  </a:moveTo>
                  <a:cubicBezTo>
                    <a:pt x="167591" y="130205"/>
                    <a:pt x="130206" y="167591"/>
                    <a:pt x="83796" y="167591"/>
                  </a:cubicBezTo>
                  <a:cubicBezTo>
                    <a:pt x="37386" y="167591"/>
                    <a:pt x="0" y="130205"/>
                    <a:pt x="0" y="83796"/>
                  </a:cubicBezTo>
                  <a:cubicBezTo>
                    <a:pt x="0" y="37386"/>
                    <a:pt x="37386" y="0"/>
                    <a:pt x="83796" y="0"/>
                  </a:cubicBezTo>
                  <a:cubicBezTo>
                    <a:pt x="130206" y="0"/>
                    <a:pt x="167591" y="37386"/>
                    <a:pt x="167591" y="83796"/>
                  </a:cubicBezTo>
                  <a:close/>
                </a:path>
              </a:pathLst>
            </a:custGeom>
            <a:solidFill>
              <a:srgbClr val="FFC97D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0DEFDBAA-A023-4909-8C5D-2C8A4DE9D979}"/>
                </a:ext>
              </a:extLst>
            </p:cNvPr>
            <p:cNvSpPr/>
            <p:nvPr/>
          </p:nvSpPr>
          <p:spPr>
            <a:xfrm>
              <a:off x="5833698" y="4187147"/>
              <a:ext cx="167540" cy="167540"/>
            </a:xfrm>
            <a:custGeom>
              <a:avLst/>
              <a:gdLst>
                <a:gd name="connsiteX0" fmla="*/ 91531 w 180482"/>
                <a:gd name="connsiteY0" fmla="*/ 183061 h 180482"/>
                <a:gd name="connsiteX1" fmla="*/ 0 w 180482"/>
                <a:gd name="connsiteY1" fmla="*/ 91531 h 180482"/>
                <a:gd name="connsiteX2" fmla="*/ 91531 w 180482"/>
                <a:gd name="connsiteY2" fmla="*/ 0 h 180482"/>
                <a:gd name="connsiteX3" fmla="*/ 183061 w 180482"/>
                <a:gd name="connsiteY3" fmla="*/ 91531 h 180482"/>
                <a:gd name="connsiteX4" fmla="*/ 91531 w 180482"/>
                <a:gd name="connsiteY4" fmla="*/ 183061 h 180482"/>
                <a:gd name="connsiteX5" fmla="*/ 91531 w 180482"/>
                <a:gd name="connsiteY5" fmla="*/ 16115 h 180482"/>
                <a:gd name="connsiteX6" fmla="*/ 16115 w 180482"/>
                <a:gd name="connsiteY6" fmla="*/ 91531 h 180482"/>
                <a:gd name="connsiteX7" fmla="*/ 91531 w 180482"/>
                <a:gd name="connsiteY7" fmla="*/ 166947 h 180482"/>
                <a:gd name="connsiteX8" fmla="*/ 166947 w 180482"/>
                <a:gd name="connsiteY8" fmla="*/ 91531 h 180482"/>
                <a:gd name="connsiteX9" fmla="*/ 91531 w 180482"/>
                <a:gd name="connsiteY9" fmla="*/ 16115 h 180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0482" h="180482">
                  <a:moveTo>
                    <a:pt x="91531" y="183061"/>
                  </a:moveTo>
                  <a:cubicBezTo>
                    <a:pt x="41253" y="183061"/>
                    <a:pt x="0" y="141808"/>
                    <a:pt x="0" y="91531"/>
                  </a:cubicBezTo>
                  <a:cubicBezTo>
                    <a:pt x="0" y="41253"/>
                    <a:pt x="41253" y="0"/>
                    <a:pt x="91531" y="0"/>
                  </a:cubicBezTo>
                  <a:cubicBezTo>
                    <a:pt x="141808" y="0"/>
                    <a:pt x="183061" y="41253"/>
                    <a:pt x="183061" y="91531"/>
                  </a:cubicBezTo>
                  <a:cubicBezTo>
                    <a:pt x="183061" y="141808"/>
                    <a:pt x="142453" y="183061"/>
                    <a:pt x="91531" y="183061"/>
                  </a:cubicBezTo>
                  <a:close/>
                  <a:moveTo>
                    <a:pt x="91531" y="16115"/>
                  </a:moveTo>
                  <a:cubicBezTo>
                    <a:pt x="50278" y="16115"/>
                    <a:pt x="16115" y="49633"/>
                    <a:pt x="16115" y="91531"/>
                  </a:cubicBezTo>
                  <a:cubicBezTo>
                    <a:pt x="16115" y="133428"/>
                    <a:pt x="49633" y="166947"/>
                    <a:pt x="91531" y="166947"/>
                  </a:cubicBezTo>
                  <a:cubicBezTo>
                    <a:pt x="132784" y="166947"/>
                    <a:pt x="166947" y="133428"/>
                    <a:pt x="166947" y="91531"/>
                  </a:cubicBezTo>
                  <a:cubicBezTo>
                    <a:pt x="166947" y="49633"/>
                    <a:pt x="133428" y="16115"/>
                    <a:pt x="91531" y="16115"/>
                  </a:cubicBezTo>
                  <a:close/>
                </a:path>
              </a:pathLst>
            </a:custGeom>
            <a:solidFill>
              <a:srgbClr val="B3CCFF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89DD1691-076D-4639-802B-55F823185BDC}"/>
                </a:ext>
              </a:extLst>
            </p:cNvPr>
            <p:cNvSpPr/>
            <p:nvPr/>
          </p:nvSpPr>
          <p:spPr>
            <a:xfrm>
              <a:off x="5207818" y="3134638"/>
              <a:ext cx="125654" cy="137623"/>
            </a:xfrm>
            <a:custGeom>
              <a:avLst/>
              <a:gdLst>
                <a:gd name="connsiteX0" fmla="*/ 0 w 135362"/>
                <a:gd name="connsiteY0" fmla="*/ 56723 h 148253"/>
                <a:gd name="connsiteX1" fmla="*/ 1934 w 135362"/>
                <a:gd name="connsiteY1" fmla="*/ 137940 h 148253"/>
                <a:gd name="connsiteX2" fmla="*/ 105067 w 135362"/>
                <a:gd name="connsiteY2" fmla="*/ 150832 h 148253"/>
                <a:gd name="connsiteX3" fmla="*/ 138585 w 135362"/>
                <a:gd name="connsiteY3" fmla="*/ 79284 h 148253"/>
                <a:gd name="connsiteX4" fmla="*/ 113446 w 135362"/>
                <a:gd name="connsiteY4" fmla="*/ 14181 h 148253"/>
                <a:gd name="connsiteX5" fmla="*/ 70904 w 135362"/>
                <a:gd name="connsiteY5" fmla="*/ 45121 h 148253"/>
                <a:gd name="connsiteX6" fmla="*/ 70260 w 135362"/>
                <a:gd name="connsiteY6" fmla="*/ 30295 h 148253"/>
                <a:gd name="connsiteX7" fmla="*/ 81862 w 135362"/>
                <a:gd name="connsiteY7" fmla="*/ 14825 h 148253"/>
                <a:gd name="connsiteX8" fmla="*/ 69615 w 135362"/>
                <a:gd name="connsiteY8" fmla="*/ 0 h 148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362" h="148253">
                  <a:moveTo>
                    <a:pt x="0" y="56723"/>
                  </a:moveTo>
                  <a:lnTo>
                    <a:pt x="1934" y="137940"/>
                  </a:lnTo>
                  <a:lnTo>
                    <a:pt x="105067" y="150832"/>
                  </a:lnTo>
                  <a:lnTo>
                    <a:pt x="138585" y="79284"/>
                  </a:lnTo>
                  <a:lnTo>
                    <a:pt x="113446" y="14181"/>
                  </a:lnTo>
                  <a:lnTo>
                    <a:pt x="70904" y="45121"/>
                  </a:lnTo>
                  <a:lnTo>
                    <a:pt x="70260" y="30295"/>
                  </a:lnTo>
                  <a:lnTo>
                    <a:pt x="81862" y="14825"/>
                  </a:lnTo>
                  <a:lnTo>
                    <a:pt x="69615" y="0"/>
                  </a:lnTo>
                  <a:close/>
                </a:path>
              </a:pathLst>
            </a:custGeom>
            <a:solidFill>
              <a:srgbClr val="EACFC1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9765CF7C-50A6-4684-8CFE-33B8C1686AC0}"/>
                </a:ext>
              </a:extLst>
            </p:cNvPr>
            <p:cNvSpPr/>
            <p:nvPr/>
          </p:nvSpPr>
          <p:spPr>
            <a:xfrm>
              <a:off x="4375447" y="2917101"/>
              <a:ext cx="855650" cy="412866"/>
            </a:xfrm>
            <a:custGeom>
              <a:avLst/>
              <a:gdLst>
                <a:gd name="connsiteX0" fmla="*/ 31000 w 921751"/>
                <a:gd name="connsiteY0" fmla="*/ 8739 h 444761"/>
                <a:gd name="connsiteX1" fmla="*/ 46470 w 921751"/>
                <a:gd name="connsiteY1" fmla="*/ 1648 h 444761"/>
                <a:gd name="connsiteX2" fmla="*/ 130911 w 921751"/>
                <a:gd name="connsiteY2" fmla="*/ 41612 h 444761"/>
                <a:gd name="connsiteX3" fmla="*/ 254025 w 921751"/>
                <a:gd name="connsiteY3" fmla="*/ 166661 h 444761"/>
                <a:gd name="connsiteX4" fmla="*/ 383587 w 921751"/>
                <a:gd name="connsiteY4" fmla="*/ 194378 h 444761"/>
                <a:gd name="connsiteX5" fmla="*/ 724570 w 921751"/>
                <a:gd name="connsiteY5" fmla="*/ 238210 h 444761"/>
                <a:gd name="connsiteX6" fmla="*/ 920523 w 921751"/>
                <a:gd name="connsiteY6" fmla="*/ 276240 h 444761"/>
                <a:gd name="connsiteX7" fmla="*/ 927613 w 921751"/>
                <a:gd name="connsiteY7" fmla="*/ 384530 h 444761"/>
                <a:gd name="connsiteX8" fmla="*/ 604033 w 921751"/>
                <a:gd name="connsiteY8" fmla="*/ 422560 h 444761"/>
                <a:gd name="connsiteX9" fmla="*/ 391966 w 921751"/>
                <a:gd name="connsiteY9" fmla="*/ 445765 h 444761"/>
                <a:gd name="connsiteX10" fmla="*/ 326863 w 921751"/>
                <a:gd name="connsiteY10" fmla="*/ 425138 h 444761"/>
                <a:gd name="connsiteX11" fmla="*/ 231465 w 921751"/>
                <a:gd name="connsiteY11" fmla="*/ 412247 h 444761"/>
                <a:gd name="connsiteX12" fmla="*/ 58073 w 921751"/>
                <a:gd name="connsiteY12" fmla="*/ 292999 h 444761"/>
                <a:gd name="connsiteX13" fmla="*/ 60 w 921751"/>
                <a:gd name="connsiteY13" fmla="*/ 88667 h 444761"/>
                <a:gd name="connsiteX14" fmla="*/ 31000 w 921751"/>
                <a:gd name="connsiteY14" fmla="*/ 8739 h 444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21751" h="444761">
                  <a:moveTo>
                    <a:pt x="31000" y="8739"/>
                  </a:moveTo>
                  <a:cubicBezTo>
                    <a:pt x="35512" y="5516"/>
                    <a:pt x="40669" y="2938"/>
                    <a:pt x="46470" y="1648"/>
                  </a:cubicBezTo>
                  <a:cubicBezTo>
                    <a:pt x="78055" y="-6731"/>
                    <a:pt x="107706" y="18407"/>
                    <a:pt x="130911" y="41612"/>
                  </a:cubicBezTo>
                  <a:cubicBezTo>
                    <a:pt x="169585" y="80932"/>
                    <a:pt x="208905" y="135721"/>
                    <a:pt x="254025" y="166661"/>
                  </a:cubicBezTo>
                  <a:cubicBezTo>
                    <a:pt x="290122" y="191155"/>
                    <a:pt x="339110" y="188577"/>
                    <a:pt x="383587" y="194378"/>
                  </a:cubicBezTo>
                  <a:cubicBezTo>
                    <a:pt x="497033" y="209204"/>
                    <a:pt x="611124" y="223384"/>
                    <a:pt x="724570" y="238210"/>
                  </a:cubicBezTo>
                  <a:cubicBezTo>
                    <a:pt x="768401" y="244011"/>
                    <a:pt x="901185" y="241433"/>
                    <a:pt x="920523" y="276240"/>
                  </a:cubicBezTo>
                  <a:cubicBezTo>
                    <a:pt x="924390" y="283975"/>
                    <a:pt x="925679" y="384530"/>
                    <a:pt x="927613" y="384530"/>
                  </a:cubicBezTo>
                  <a:cubicBezTo>
                    <a:pt x="819968" y="397421"/>
                    <a:pt x="711678" y="409668"/>
                    <a:pt x="604033" y="422560"/>
                  </a:cubicBezTo>
                  <a:cubicBezTo>
                    <a:pt x="538286" y="430295"/>
                    <a:pt x="457713" y="453500"/>
                    <a:pt x="391966" y="445765"/>
                  </a:cubicBezTo>
                  <a:cubicBezTo>
                    <a:pt x="368761" y="443187"/>
                    <a:pt x="349423" y="430295"/>
                    <a:pt x="326863" y="425138"/>
                  </a:cubicBezTo>
                  <a:cubicBezTo>
                    <a:pt x="295923" y="418048"/>
                    <a:pt x="263050" y="419337"/>
                    <a:pt x="231465" y="412247"/>
                  </a:cubicBezTo>
                  <a:cubicBezTo>
                    <a:pt x="161206" y="397421"/>
                    <a:pt x="98681" y="352301"/>
                    <a:pt x="58073" y="292999"/>
                  </a:cubicBezTo>
                  <a:cubicBezTo>
                    <a:pt x="18109" y="233698"/>
                    <a:pt x="-1229" y="160860"/>
                    <a:pt x="60" y="88667"/>
                  </a:cubicBezTo>
                  <a:cubicBezTo>
                    <a:pt x="60" y="59016"/>
                    <a:pt x="8440" y="24853"/>
                    <a:pt x="31000" y="8739"/>
                  </a:cubicBezTo>
                  <a:close/>
                </a:path>
              </a:pathLst>
            </a:custGeom>
            <a:solidFill>
              <a:srgbClr val="B3CCFF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64F01AF5-67BE-46EE-BD0C-145312C0E4C3}"/>
                </a:ext>
              </a:extLst>
            </p:cNvPr>
            <p:cNvSpPr/>
            <p:nvPr/>
          </p:nvSpPr>
          <p:spPr>
            <a:xfrm>
              <a:off x="4792638" y="2846828"/>
              <a:ext cx="293195" cy="239343"/>
            </a:xfrm>
            <a:custGeom>
              <a:avLst/>
              <a:gdLst>
                <a:gd name="connsiteX0" fmla="*/ 43745 w 315844"/>
                <a:gd name="connsiteY0" fmla="*/ 0 h 257832"/>
                <a:gd name="connsiteX1" fmla="*/ 9582 w 315844"/>
                <a:gd name="connsiteY1" fmla="*/ 48988 h 257832"/>
                <a:gd name="connsiteX2" fmla="*/ 22474 w 315844"/>
                <a:gd name="connsiteY2" fmla="*/ 121181 h 257832"/>
                <a:gd name="connsiteX3" fmla="*/ 211981 w 315844"/>
                <a:gd name="connsiteY3" fmla="*/ 253965 h 257832"/>
                <a:gd name="connsiteX4" fmla="*/ 284174 w 315844"/>
                <a:gd name="connsiteY4" fmla="*/ 241074 h 257832"/>
                <a:gd name="connsiteX5" fmla="*/ 318337 w 315844"/>
                <a:gd name="connsiteY5" fmla="*/ 192085 h 257832"/>
                <a:gd name="connsiteX6" fmla="*/ 43745 w 315844"/>
                <a:gd name="connsiteY6" fmla="*/ 0 h 257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5844" h="257832">
                  <a:moveTo>
                    <a:pt x="43745" y="0"/>
                  </a:moveTo>
                  <a:lnTo>
                    <a:pt x="9582" y="48988"/>
                  </a:lnTo>
                  <a:cubicBezTo>
                    <a:pt x="-7177" y="72193"/>
                    <a:pt x="-1375" y="104422"/>
                    <a:pt x="22474" y="121181"/>
                  </a:cubicBezTo>
                  <a:lnTo>
                    <a:pt x="211981" y="253965"/>
                  </a:lnTo>
                  <a:cubicBezTo>
                    <a:pt x="235186" y="270724"/>
                    <a:pt x="267415" y="264923"/>
                    <a:pt x="284174" y="241074"/>
                  </a:cubicBezTo>
                  <a:lnTo>
                    <a:pt x="318337" y="192085"/>
                  </a:lnTo>
                  <a:lnTo>
                    <a:pt x="43745" y="0"/>
                  </a:lnTo>
                  <a:close/>
                </a:path>
              </a:pathLst>
            </a:custGeom>
            <a:solidFill>
              <a:srgbClr val="012263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58E7B9C2-4DFF-43B8-8438-E3BAD1AC64A3}"/>
                </a:ext>
              </a:extLst>
            </p:cNvPr>
            <p:cNvSpPr/>
            <p:nvPr/>
          </p:nvSpPr>
          <p:spPr>
            <a:xfrm>
              <a:off x="4729132" y="1725508"/>
              <a:ext cx="1077042" cy="1370237"/>
            </a:xfrm>
            <a:custGeom>
              <a:avLst/>
              <a:gdLst>
                <a:gd name="connsiteX0" fmla="*/ 1164114 w 1160246"/>
                <a:gd name="connsiteY0" fmla="*/ 0 h 1476091"/>
                <a:gd name="connsiteX1" fmla="*/ 264923 w 1160246"/>
                <a:gd name="connsiteY1" fmla="*/ 752226 h 1476091"/>
                <a:gd name="connsiteX2" fmla="*/ 264923 w 1160246"/>
                <a:gd name="connsiteY2" fmla="*/ 752226 h 1476091"/>
                <a:gd name="connsiteX3" fmla="*/ 0 w 1160246"/>
                <a:gd name="connsiteY3" fmla="*/ 1129951 h 1476091"/>
                <a:gd name="connsiteX4" fmla="*/ 497617 w 1160246"/>
                <a:gd name="connsiteY4" fmla="*/ 1479314 h 1476091"/>
                <a:gd name="connsiteX5" fmla="*/ 762540 w 1160246"/>
                <a:gd name="connsiteY5" fmla="*/ 1101590 h 1476091"/>
                <a:gd name="connsiteX6" fmla="*/ 762540 w 1160246"/>
                <a:gd name="connsiteY6" fmla="*/ 1101590 h 1476091"/>
                <a:gd name="connsiteX7" fmla="*/ 1164114 w 1160246"/>
                <a:gd name="connsiteY7" fmla="*/ 0 h 1476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60246" h="1476091">
                  <a:moveTo>
                    <a:pt x="1164114" y="0"/>
                  </a:moveTo>
                  <a:cubicBezTo>
                    <a:pt x="656184" y="154700"/>
                    <a:pt x="264923" y="752226"/>
                    <a:pt x="264923" y="752226"/>
                  </a:cubicBezTo>
                  <a:lnTo>
                    <a:pt x="264923" y="752226"/>
                  </a:lnTo>
                  <a:lnTo>
                    <a:pt x="0" y="1129951"/>
                  </a:lnTo>
                  <a:lnTo>
                    <a:pt x="497617" y="1479314"/>
                  </a:lnTo>
                  <a:lnTo>
                    <a:pt x="762540" y="1101590"/>
                  </a:lnTo>
                  <a:lnTo>
                    <a:pt x="762540" y="1101590"/>
                  </a:lnTo>
                  <a:cubicBezTo>
                    <a:pt x="762540" y="1100945"/>
                    <a:pt x="1191831" y="530491"/>
                    <a:pt x="1164114" y="0"/>
                  </a:cubicBezTo>
                  <a:close/>
                </a:path>
              </a:pathLst>
            </a:custGeom>
            <a:solidFill>
              <a:srgbClr val="B3CCFF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0F4CB0DE-103E-4D89-AAD4-6B65EA6CEFB8}"/>
                </a:ext>
              </a:extLst>
            </p:cNvPr>
            <p:cNvSpPr/>
            <p:nvPr/>
          </p:nvSpPr>
          <p:spPr>
            <a:xfrm>
              <a:off x="4413200" y="2408333"/>
              <a:ext cx="556472" cy="412866"/>
            </a:xfrm>
            <a:custGeom>
              <a:avLst/>
              <a:gdLst>
                <a:gd name="connsiteX0" fmla="*/ 605262 w 599460"/>
                <a:gd name="connsiteY0" fmla="*/ 16652 h 444761"/>
                <a:gd name="connsiteX1" fmla="*/ 114091 w 599460"/>
                <a:gd name="connsiteY1" fmla="*/ 235165 h 444761"/>
                <a:gd name="connsiteX2" fmla="*/ 0 w 599460"/>
                <a:gd name="connsiteY2" fmla="*/ 397599 h 444761"/>
                <a:gd name="connsiteX3" fmla="*/ 73482 w 599460"/>
                <a:gd name="connsiteY3" fmla="*/ 449166 h 444761"/>
                <a:gd name="connsiteX4" fmla="*/ 395128 w 599460"/>
                <a:gd name="connsiteY4" fmla="*/ 315737 h 444761"/>
                <a:gd name="connsiteX5" fmla="*/ 605262 w 599460"/>
                <a:gd name="connsiteY5" fmla="*/ 16652 h 444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9460" h="444761">
                  <a:moveTo>
                    <a:pt x="605262" y="16652"/>
                  </a:moveTo>
                  <a:cubicBezTo>
                    <a:pt x="605262" y="16652"/>
                    <a:pt x="342273" y="-89704"/>
                    <a:pt x="114091" y="235165"/>
                  </a:cubicBezTo>
                  <a:lnTo>
                    <a:pt x="0" y="397599"/>
                  </a:lnTo>
                  <a:lnTo>
                    <a:pt x="73482" y="449166"/>
                  </a:lnTo>
                  <a:cubicBezTo>
                    <a:pt x="73482" y="449166"/>
                    <a:pt x="253320" y="216472"/>
                    <a:pt x="395128" y="315737"/>
                  </a:cubicBezTo>
                  <a:lnTo>
                    <a:pt x="605262" y="16652"/>
                  </a:lnTo>
                  <a:close/>
                </a:path>
              </a:pathLst>
            </a:custGeom>
            <a:solidFill>
              <a:srgbClr val="0137A3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260AD773-29DB-46F5-ADB2-927367C915BC}"/>
                </a:ext>
              </a:extLst>
            </p:cNvPr>
            <p:cNvSpPr/>
            <p:nvPr/>
          </p:nvSpPr>
          <p:spPr>
            <a:xfrm>
              <a:off x="5226965" y="2748100"/>
              <a:ext cx="275244" cy="646225"/>
            </a:xfrm>
            <a:custGeom>
              <a:avLst/>
              <a:gdLst>
                <a:gd name="connsiteX0" fmla="*/ 226248 w 296507"/>
                <a:gd name="connsiteY0" fmla="*/ 0 h 696147"/>
                <a:gd name="connsiteX1" fmla="*/ 187573 w 296507"/>
                <a:gd name="connsiteY1" fmla="*/ 536292 h 696147"/>
                <a:gd name="connsiteX2" fmla="*/ 73482 w 296507"/>
                <a:gd name="connsiteY2" fmla="*/ 698726 h 696147"/>
                <a:gd name="connsiteX3" fmla="*/ 0 w 296507"/>
                <a:gd name="connsiteY3" fmla="*/ 647160 h 696147"/>
                <a:gd name="connsiteX4" fmla="*/ 16115 w 296507"/>
                <a:gd name="connsiteY4" fmla="*/ 299086 h 696147"/>
                <a:gd name="connsiteX5" fmla="*/ 226248 w 296507"/>
                <a:gd name="connsiteY5" fmla="*/ 0 h 696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6507" h="696147">
                  <a:moveTo>
                    <a:pt x="226248" y="0"/>
                  </a:moveTo>
                  <a:cubicBezTo>
                    <a:pt x="226248" y="0"/>
                    <a:pt x="415755" y="211423"/>
                    <a:pt x="187573" y="536292"/>
                  </a:cubicBezTo>
                  <a:lnTo>
                    <a:pt x="73482" y="698726"/>
                  </a:lnTo>
                  <a:lnTo>
                    <a:pt x="0" y="647160"/>
                  </a:lnTo>
                  <a:cubicBezTo>
                    <a:pt x="0" y="647160"/>
                    <a:pt x="157922" y="398996"/>
                    <a:pt x="16115" y="299086"/>
                  </a:cubicBezTo>
                  <a:lnTo>
                    <a:pt x="226248" y="0"/>
                  </a:lnTo>
                  <a:close/>
                </a:path>
              </a:pathLst>
            </a:custGeom>
            <a:solidFill>
              <a:srgbClr val="0137A3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1B8ACA75-5EE7-4C2B-BBB9-D125C48CCE9B}"/>
                </a:ext>
              </a:extLst>
            </p:cNvPr>
            <p:cNvSpPr/>
            <p:nvPr/>
          </p:nvSpPr>
          <p:spPr>
            <a:xfrm>
              <a:off x="5098957" y="2164116"/>
              <a:ext cx="472701" cy="472701"/>
            </a:xfrm>
            <a:custGeom>
              <a:avLst/>
              <a:gdLst>
                <a:gd name="connsiteX0" fmla="*/ 449702 w 509219"/>
                <a:gd name="connsiteY0" fmla="*/ 194338 h 509219"/>
                <a:gd name="connsiteX1" fmla="*/ 316388 w 509219"/>
                <a:gd name="connsiteY1" fmla="*/ 449702 h 509219"/>
                <a:gd name="connsiteX2" fmla="*/ 61025 w 509219"/>
                <a:gd name="connsiteY2" fmla="*/ 316388 h 509219"/>
                <a:gd name="connsiteX3" fmla="*/ 194339 w 509219"/>
                <a:gd name="connsiteY3" fmla="*/ 61025 h 509219"/>
                <a:gd name="connsiteX4" fmla="*/ 449702 w 509219"/>
                <a:gd name="connsiteY4" fmla="*/ 194338 h 5092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9219" h="509219">
                  <a:moveTo>
                    <a:pt x="449702" y="194338"/>
                  </a:moveTo>
                  <a:cubicBezTo>
                    <a:pt x="483405" y="301669"/>
                    <a:pt x="423718" y="415999"/>
                    <a:pt x="316388" y="449702"/>
                  </a:cubicBezTo>
                  <a:cubicBezTo>
                    <a:pt x="209058" y="483405"/>
                    <a:pt x="94728" y="423718"/>
                    <a:pt x="61025" y="316388"/>
                  </a:cubicBezTo>
                  <a:cubicBezTo>
                    <a:pt x="27322" y="209058"/>
                    <a:pt x="87009" y="94728"/>
                    <a:pt x="194339" y="61025"/>
                  </a:cubicBezTo>
                  <a:cubicBezTo>
                    <a:pt x="301669" y="27322"/>
                    <a:pt x="415999" y="87008"/>
                    <a:pt x="449702" y="194338"/>
                  </a:cubicBezTo>
                  <a:close/>
                </a:path>
              </a:pathLst>
            </a:custGeom>
            <a:solidFill>
              <a:srgbClr val="B3CCFF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D0491E71-042D-4068-8E4A-64EDECCA05D2}"/>
                </a:ext>
              </a:extLst>
            </p:cNvPr>
            <p:cNvSpPr/>
            <p:nvPr/>
          </p:nvSpPr>
          <p:spPr>
            <a:xfrm>
              <a:off x="5192120" y="2257906"/>
              <a:ext cx="281227" cy="281227"/>
            </a:xfrm>
            <a:custGeom>
              <a:avLst/>
              <a:gdLst>
                <a:gd name="connsiteX0" fmla="*/ 281188 w 302953"/>
                <a:gd name="connsiteY0" fmla="*/ 243158 h 302953"/>
                <a:gd name="connsiteX1" fmla="*/ 65898 w 302953"/>
                <a:gd name="connsiteY1" fmla="*/ 281188 h 302953"/>
                <a:gd name="connsiteX2" fmla="*/ 27868 w 302953"/>
                <a:gd name="connsiteY2" fmla="*/ 65898 h 302953"/>
                <a:gd name="connsiteX3" fmla="*/ 243158 w 302953"/>
                <a:gd name="connsiteY3" fmla="*/ 27868 h 302953"/>
                <a:gd name="connsiteX4" fmla="*/ 281188 w 302953"/>
                <a:gd name="connsiteY4" fmla="*/ 243158 h 302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2953" h="302953">
                  <a:moveTo>
                    <a:pt x="281188" y="243158"/>
                  </a:moveTo>
                  <a:cubicBezTo>
                    <a:pt x="232200" y="312773"/>
                    <a:pt x="135513" y="330176"/>
                    <a:pt x="65898" y="281188"/>
                  </a:cubicBezTo>
                  <a:cubicBezTo>
                    <a:pt x="-3717" y="232200"/>
                    <a:pt x="-21120" y="135513"/>
                    <a:pt x="27868" y="65898"/>
                  </a:cubicBezTo>
                  <a:cubicBezTo>
                    <a:pt x="76856" y="-3717"/>
                    <a:pt x="173543" y="-21120"/>
                    <a:pt x="243158" y="27868"/>
                  </a:cubicBezTo>
                  <a:cubicBezTo>
                    <a:pt x="313417" y="76856"/>
                    <a:pt x="330176" y="172899"/>
                    <a:pt x="281188" y="243158"/>
                  </a:cubicBezTo>
                  <a:close/>
                </a:path>
              </a:pathLst>
            </a:custGeom>
            <a:solidFill>
              <a:srgbClr val="012263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7646FB75-767A-44D3-B6E6-C499682C8E31}"/>
                </a:ext>
              </a:extLst>
            </p:cNvPr>
            <p:cNvSpPr/>
            <p:nvPr/>
          </p:nvSpPr>
          <p:spPr>
            <a:xfrm>
              <a:off x="4846510" y="2555272"/>
              <a:ext cx="496637" cy="370981"/>
            </a:xfrm>
            <a:custGeom>
              <a:avLst/>
              <a:gdLst>
                <a:gd name="connsiteX0" fmla="*/ 0 w 535002"/>
                <a:gd name="connsiteY0" fmla="*/ 55404 h 399640"/>
                <a:gd name="connsiteX1" fmla="*/ 38876 w 535002"/>
                <a:gd name="connsiteY1" fmla="*/ 0 h 399640"/>
                <a:gd name="connsiteX2" fmla="*/ 536982 w 535002"/>
                <a:gd name="connsiteY2" fmla="*/ 349514 h 399640"/>
                <a:gd name="connsiteX3" fmla="*/ 498106 w 535002"/>
                <a:gd name="connsiteY3" fmla="*/ 404917 h 399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5002" h="399640">
                  <a:moveTo>
                    <a:pt x="0" y="55404"/>
                  </a:moveTo>
                  <a:lnTo>
                    <a:pt x="38876" y="0"/>
                  </a:lnTo>
                  <a:lnTo>
                    <a:pt x="536982" y="349514"/>
                  </a:lnTo>
                  <a:lnTo>
                    <a:pt x="498106" y="404917"/>
                  </a:lnTo>
                  <a:close/>
                </a:path>
              </a:pathLst>
            </a:custGeom>
            <a:solidFill>
              <a:srgbClr val="B3CCFF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D37B50EE-0981-42ED-9BFF-48EAC382694A}"/>
                </a:ext>
              </a:extLst>
            </p:cNvPr>
            <p:cNvSpPr/>
            <p:nvPr/>
          </p:nvSpPr>
          <p:spPr>
            <a:xfrm>
              <a:off x="4649010" y="2959917"/>
              <a:ext cx="335080" cy="400900"/>
            </a:xfrm>
            <a:custGeom>
              <a:avLst/>
              <a:gdLst>
                <a:gd name="connsiteX0" fmla="*/ 366061 w 360965"/>
                <a:gd name="connsiteY0" fmla="*/ 132784 h 431869"/>
                <a:gd name="connsiteX1" fmla="*/ 271308 w 360965"/>
                <a:gd name="connsiteY1" fmla="*/ 66392 h 431869"/>
                <a:gd name="connsiteX2" fmla="*/ 176554 w 360965"/>
                <a:gd name="connsiteY2" fmla="*/ 0 h 431869"/>
                <a:gd name="connsiteX3" fmla="*/ 12186 w 360965"/>
                <a:gd name="connsiteY3" fmla="*/ 435737 h 431869"/>
                <a:gd name="connsiteX4" fmla="*/ 366061 w 360965"/>
                <a:gd name="connsiteY4" fmla="*/ 132784 h 431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0965" h="431869">
                  <a:moveTo>
                    <a:pt x="366061" y="132784"/>
                  </a:moveTo>
                  <a:lnTo>
                    <a:pt x="271308" y="66392"/>
                  </a:lnTo>
                  <a:lnTo>
                    <a:pt x="176554" y="0"/>
                  </a:lnTo>
                  <a:cubicBezTo>
                    <a:pt x="176554" y="0"/>
                    <a:pt x="-54851" y="123115"/>
                    <a:pt x="12186" y="435737"/>
                  </a:cubicBezTo>
                  <a:cubicBezTo>
                    <a:pt x="328675" y="391906"/>
                    <a:pt x="366061" y="132784"/>
                    <a:pt x="366061" y="132784"/>
                  </a:cubicBezTo>
                  <a:close/>
                </a:path>
              </a:pathLst>
            </a:custGeom>
            <a:solidFill>
              <a:srgbClr val="EDB159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3B4BD803-FDC3-4321-AA80-FC8FAB22F73A}"/>
                </a:ext>
              </a:extLst>
            </p:cNvPr>
            <p:cNvSpPr/>
            <p:nvPr/>
          </p:nvSpPr>
          <p:spPr>
            <a:xfrm>
              <a:off x="4732445" y="2979664"/>
              <a:ext cx="221392" cy="269261"/>
            </a:xfrm>
            <a:custGeom>
              <a:avLst/>
              <a:gdLst>
                <a:gd name="connsiteX0" fmla="*/ 244595 w 238495"/>
                <a:gd name="connsiteY0" fmla="*/ 88952 h 290061"/>
                <a:gd name="connsiteX1" fmla="*/ 181426 w 238495"/>
                <a:gd name="connsiteY1" fmla="*/ 44476 h 290061"/>
                <a:gd name="connsiteX2" fmla="*/ 118257 w 238495"/>
                <a:gd name="connsiteY2" fmla="*/ 0 h 290061"/>
                <a:gd name="connsiteX3" fmla="*/ 8033 w 238495"/>
                <a:gd name="connsiteY3" fmla="*/ 291351 h 290061"/>
                <a:gd name="connsiteX4" fmla="*/ 244595 w 238495"/>
                <a:gd name="connsiteY4" fmla="*/ 88952 h 290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8495" h="290061">
                  <a:moveTo>
                    <a:pt x="244595" y="88952"/>
                  </a:moveTo>
                  <a:lnTo>
                    <a:pt x="181426" y="44476"/>
                  </a:lnTo>
                  <a:lnTo>
                    <a:pt x="118257" y="0"/>
                  </a:lnTo>
                  <a:cubicBezTo>
                    <a:pt x="118257" y="0"/>
                    <a:pt x="-36442" y="82506"/>
                    <a:pt x="8033" y="291351"/>
                  </a:cubicBezTo>
                  <a:cubicBezTo>
                    <a:pt x="219456" y="262989"/>
                    <a:pt x="244595" y="88952"/>
                    <a:pt x="244595" y="88952"/>
                  </a:cubicBezTo>
                  <a:close/>
                </a:path>
              </a:pathLst>
            </a:custGeom>
            <a:solidFill>
              <a:schemeClr val="bg1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A1B82CCE-493E-4CC6-9469-0B24B2426B74}"/>
                </a:ext>
              </a:extLst>
            </p:cNvPr>
            <p:cNvSpPr/>
            <p:nvPr/>
          </p:nvSpPr>
          <p:spPr>
            <a:xfrm>
              <a:off x="5325694" y="1725508"/>
              <a:ext cx="484669" cy="550488"/>
            </a:xfrm>
            <a:custGeom>
              <a:avLst/>
              <a:gdLst>
                <a:gd name="connsiteX0" fmla="*/ 399640 w 522110"/>
                <a:gd name="connsiteY0" fmla="*/ 598816 h 593014"/>
                <a:gd name="connsiteX1" fmla="*/ 521466 w 522110"/>
                <a:gd name="connsiteY1" fmla="*/ 0 h 593014"/>
                <a:gd name="connsiteX2" fmla="*/ 0 w 522110"/>
                <a:gd name="connsiteY2" fmla="*/ 318423 h 593014"/>
                <a:gd name="connsiteX3" fmla="*/ 399640 w 522110"/>
                <a:gd name="connsiteY3" fmla="*/ 598816 h 593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2110" h="593014">
                  <a:moveTo>
                    <a:pt x="399640" y="598816"/>
                  </a:moveTo>
                  <a:cubicBezTo>
                    <a:pt x="474412" y="417044"/>
                    <a:pt x="532424" y="205621"/>
                    <a:pt x="521466" y="0"/>
                  </a:cubicBezTo>
                  <a:cubicBezTo>
                    <a:pt x="324869" y="59946"/>
                    <a:pt x="145675" y="186284"/>
                    <a:pt x="0" y="318423"/>
                  </a:cubicBezTo>
                  <a:lnTo>
                    <a:pt x="399640" y="598816"/>
                  </a:lnTo>
                  <a:close/>
                </a:path>
              </a:pathLst>
            </a:custGeom>
            <a:solidFill>
              <a:srgbClr val="0137A3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DE7321E4-D51D-4E36-A162-5BA1FE9BFB3C}"/>
                </a:ext>
              </a:extLst>
            </p:cNvPr>
            <p:cNvSpPr/>
            <p:nvPr/>
          </p:nvSpPr>
          <p:spPr>
            <a:xfrm>
              <a:off x="5103703" y="2760666"/>
              <a:ext cx="239343" cy="167540"/>
            </a:xfrm>
            <a:custGeom>
              <a:avLst/>
              <a:gdLst>
                <a:gd name="connsiteX0" fmla="*/ 0 w 257832"/>
                <a:gd name="connsiteY0" fmla="*/ 28362 h 180482"/>
                <a:gd name="connsiteX1" fmla="*/ 220447 w 257832"/>
                <a:gd name="connsiteY1" fmla="*/ 183061 h 180482"/>
                <a:gd name="connsiteX2" fmla="*/ 259122 w 257832"/>
                <a:gd name="connsiteY2" fmla="*/ 127627 h 180482"/>
                <a:gd name="connsiteX3" fmla="*/ 77350 w 257832"/>
                <a:gd name="connsiteY3" fmla="*/ 0 h 180482"/>
                <a:gd name="connsiteX4" fmla="*/ 0 w 257832"/>
                <a:gd name="connsiteY4" fmla="*/ 28362 h 180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7832" h="180482">
                  <a:moveTo>
                    <a:pt x="0" y="28362"/>
                  </a:moveTo>
                  <a:lnTo>
                    <a:pt x="220447" y="183061"/>
                  </a:lnTo>
                  <a:lnTo>
                    <a:pt x="259122" y="127627"/>
                  </a:lnTo>
                  <a:lnTo>
                    <a:pt x="77350" y="0"/>
                  </a:lnTo>
                  <a:cubicBezTo>
                    <a:pt x="51567" y="11602"/>
                    <a:pt x="25139" y="20627"/>
                    <a:pt x="0" y="28362"/>
                  </a:cubicBezTo>
                  <a:close/>
                </a:path>
              </a:pathLst>
            </a:custGeom>
            <a:solidFill>
              <a:srgbClr val="B3CCFF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7E2F8EC8-F219-4092-AA1A-E7AF0F911F1A}"/>
                </a:ext>
              </a:extLst>
            </p:cNvPr>
            <p:cNvSpPr/>
            <p:nvPr/>
          </p:nvSpPr>
          <p:spPr>
            <a:xfrm>
              <a:off x="5371169" y="1763205"/>
              <a:ext cx="406883" cy="287211"/>
            </a:xfrm>
            <a:custGeom>
              <a:avLst/>
              <a:gdLst>
                <a:gd name="connsiteX0" fmla="*/ 0 w 438315"/>
                <a:gd name="connsiteY0" fmla="*/ 278459 h 309399"/>
                <a:gd name="connsiteX1" fmla="*/ 444117 w 438315"/>
                <a:gd name="connsiteY1" fmla="*/ 0 h 309399"/>
                <a:gd name="connsiteX2" fmla="*/ 52856 w 438315"/>
                <a:gd name="connsiteY2" fmla="*/ 315845 h 309399"/>
                <a:gd name="connsiteX3" fmla="*/ 0 w 438315"/>
                <a:gd name="connsiteY3" fmla="*/ 278459 h 309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315" h="309399">
                  <a:moveTo>
                    <a:pt x="0" y="278459"/>
                  </a:moveTo>
                  <a:cubicBezTo>
                    <a:pt x="0" y="278459"/>
                    <a:pt x="243007" y="47699"/>
                    <a:pt x="444117" y="0"/>
                  </a:cubicBezTo>
                  <a:cubicBezTo>
                    <a:pt x="444117" y="0"/>
                    <a:pt x="207555" y="128916"/>
                    <a:pt x="52856" y="315845"/>
                  </a:cubicBezTo>
                  <a:lnTo>
                    <a:pt x="0" y="278459"/>
                  </a:lnTo>
                  <a:close/>
                </a:path>
              </a:pathLst>
            </a:custGeom>
            <a:solidFill>
              <a:srgbClr val="4172BF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70979221-139B-4E4F-AA8C-3055B154508E}"/>
                </a:ext>
              </a:extLst>
            </p:cNvPr>
            <p:cNvSpPr/>
            <p:nvPr/>
          </p:nvSpPr>
          <p:spPr>
            <a:xfrm>
              <a:off x="5226366" y="2425585"/>
              <a:ext cx="245326" cy="113687"/>
            </a:xfrm>
            <a:custGeom>
              <a:avLst/>
              <a:gdLst>
                <a:gd name="connsiteX0" fmla="*/ 270080 w 264278"/>
                <a:gd name="connsiteY0" fmla="*/ 0 h 122470"/>
                <a:gd name="connsiteX1" fmla="*/ 0 w 264278"/>
                <a:gd name="connsiteY1" fmla="*/ 73482 h 122470"/>
                <a:gd name="connsiteX2" fmla="*/ 29006 w 264278"/>
                <a:gd name="connsiteY2" fmla="*/ 99910 h 122470"/>
                <a:gd name="connsiteX3" fmla="*/ 244297 w 264278"/>
                <a:gd name="connsiteY3" fmla="*/ 61880 h 122470"/>
                <a:gd name="connsiteX4" fmla="*/ 270080 w 264278"/>
                <a:gd name="connsiteY4" fmla="*/ 0 h 122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4278" h="122470">
                  <a:moveTo>
                    <a:pt x="270080" y="0"/>
                  </a:moveTo>
                  <a:cubicBezTo>
                    <a:pt x="204332" y="42542"/>
                    <a:pt x="99266" y="99910"/>
                    <a:pt x="0" y="73482"/>
                  </a:cubicBezTo>
                  <a:cubicBezTo>
                    <a:pt x="8380" y="83151"/>
                    <a:pt x="18049" y="92175"/>
                    <a:pt x="29006" y="99910"/>
                  </a:cubicBezTo>
                  <a:cubicBezTo>
                    <a:pt x="98621" y="148898"/>
                    <a:pt x="195308" y="132139"/>
                    <a:pt x="244297" y="61880"/>
                  </a:cubicBezTo>
                  <a:cubicBezTo>
                    <a:pt x="257833" y="43187"/>
                    <a:pt x="266212" y="21916"/>
                    <a:pt x="270080" y="0"/>
                  </a:cubicBezTo>
                  <a:close/>
                </a:path>
              </a:pathLst>
            </a:custGeom>
            <a:solidFill>
              <a:srgbClr val="0D1929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F1444695-256A-4608-8E65-9519488F586A}"/>
                </a:ext>
              </a:extLst>
            </p:cNvPr>
            <p:cNvSpPr/>
            <p:nvPr/>
          </p:nvSpPr>
          <p:spPr>
            <a:xfrm>
              <a:off x="4800338" y="2947353"/>
              <a:ext cx="287211" cy="143606"/>
            </a:xfrm>
            <a:custGeom>
              <a:avLst/>
              <a:gdLst>
                <a:gd name="connsiteX0" fmla="*/ 203043 w 309399"/>
                <a:gd name="connsiteY0" fmla="*/ 146320 h 154699"/>
                <a:gd name="connsiteX1" fmla="*/ 275236 w 309399"/>
                <a:gd name="connsiteY1" fmla="*/ 133428 h 154699"/>
                <a:gd name="connsiteX2" fmla="*/ 309399 w 309399"/>
                <a:gd name="connsiteY2" fmla="*/ 84440 h 154699"/>
                <a:gd name="connsiteX3" fmla="*/ 309399 w 309399"/>
                <a:gd name="connsiteY3" fmla="*/ 84440 h 154699"/>
                <a:gd name="connsiteX4" fmla="*/ 0 w 309399"/>
                <a:gd name="connsiteY4" fmla="*/ 0 h 154699"/>
                <a:gd name="connsiteX5" fmla="*/ 12892 w 309399"/>
                <a:gd name="connsiteY5" fmla="*/ 13536 h 154699"/>
                <a:gd name="connsiteX6" fmla="*/ 203043 w 309399"/>
                <a:gd name="connsiteY6" fmla="*/ 146320 h 154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9399" h="154699">
                  <a:moveTo>
                    <a:pt x="203043" y="146320"/>
                  </a:moveTo>
                  <a:cubicBezTo>
                    <a:pt x="226248" y="163079"/>
                    <a:pt x="258477" y="157278"/>
                    <a:pt x="275236" y="133428"/>
                  </a:cubicBezTo>
                  <a:lnTo>
                    <a:pt x="309399" y="84440"/>
                  </a:lnTo>
                  <a:lnTo>
                    <a:pt x="309399" y="84440"/>
                  </a:lnTo>
                  <a:cubicBezTo>
                    <a:pt x="309399" y="84440"/>
                    <a:pt x="177260" y="97332"/>
                    <a:pt x="0" y="0"/>
                  </a:cubicBezTo>
                  <a:cubicBezTo>
                    <a:pt x="3223" y="5157"/>
                    <a:pt x="7735" y="9669"/>
                    <a:pt x="12892" y="13536"/>
                  </a:cubicBezTo>
                  <a:lnTo>
                    <a:pt x="203043" y="146320"/>
                  </a:lnTo>
                  <a:close/>
                </a:path>
              </a:pathLst>
            </a:custGeom>
            <a:solidFill>
              <a:srgbClr val="0D1929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B92CA5AC-6D9D-4734-A7C9-2B9669ED911E}"/>
                </a:ext>
              </a:extLst>
            </p:cNvPr>
            <p:cNvSpPr/>
            <p:nvPr/>
          </p:nvSpPr>
          <p:spPr>
            <a:xfrm>
              <a:off x="5226965" y="3214817"/>
              <a:ext cx="191474" cy="179507"/>
            </a:xfrm>
            <a:custGeom>
              <a:avLst/>
              <a:gdLst>
                <a:gd name="connsiteX0" fmla="*/ 188218 w 206266"/>
                <a:gd name="connsiteY0" fmla="*/ 33518 h 193374"/>
                <a:gd name="connsiteX1" fmla="*/ 210133 w 206266"/>
                <a:gd name="connsiteY1" fmla="*/ 0 h 193374"/>
                <a:gd name="connsiteX2" fmla="*/ 10313 w 206266"/>
                <a:gd name="connsiteY2" fmla="*/ 126983 h 193374"/>
                <a:gd name="connsiteX3" fmla="*/ 0 w 206266"/>
                <a:gd name="connsiteY3" fmla="*/ 144386 h 193374"/>
                <a:gd name="connsiteX4" fmla="*/ 73482 w 206266"/>
                <a:gd name="connsiteY4" fmla="*/ 195953 h 193374"/>
                <a:gd name="connsiteX5" fmla="*/ 188218 w 206266"/>
                <a:gd name="connsiteY5" fmla="*/ 33518 h 193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6266" h="193374">
                  <a:moveTo>
                    <a:pt x="188218" y="33518"/>
                  </a:moveTo>
                  <a:cubicBezTo>
                    <a:pt x="195953" y="22560"/>
                    <a:pt x="203688" y="10958"/>
                    <a:pt x="210133" y="0"/>
                  </a:cubicBezTo>
                  <a:cubicBezTo>
                    <a:pt x="141808" y="56079"/>
                    <a:pt x="70259" y="97332"/>
                    <a:pt x="10313" y="126983"/>
                  </a:cubicBezTo>
                  <a:cubicBezTo>
                    <a:pt x="3867" y="137940"/>
                    <a:pt x="0" y="144386"/>
                    <a:pt x="0" y="144386"/>
                  </a:cubicBezTo>
                  <a:lnTo>
                    <a:pt x="73482" y="195953"/>
                  </a:lnTo>
                  <a:lnTo>
                    <a:pt x="188218" y="33518"/>
                  </a:lnTo>
                  <a:close/>
                </a:path>
              </a:pathLst>
            </a:custGeom>
            <a:solidFill>
              <a:srgbClr val="4172BF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5CF89CD3-D111-412B-B734-C1EEC5F46EF3}"/>
                </a:ext>
              </a:extLst>
            </p:cNvPr>
            <p:cNvSpPr/>
            <p:nvPr/>
          </p:nvSpPr>
          <p:spPr>
            <a:xfrm>
              <a:off x="6020386" y="3631213"/>
              <a:ext cx="119671" cy="143606"/>
            </a:xfrm>
            <a:custGeom>
              <a:avLst/>
              <a:gdLst>
                <a:gd name="connsiteX0" fmla="*/ 19982 w 128916"/>
                <a:gd name="connsiteY0" fmla="*/ 24560 h 154699"/>
                <a:gd name="connsiteX1" fmla="*/ 14825 w 128916"/>
                <a:gd name="connsiteY1" fmla="*/ 29072 h 154699"/>
                <a:gd name="connsiteX2" fmla="*/ 14825 w 128916"/>
                <a:gd name="connsiteY2" fmla="*/ 36807 h 154699"/>
                <a:gd name="connsiteX3" fmla="*/ 19982 w 128916"/>
                <a:gd name="connsiteY3" fmla="*/ 56144 h 154699"/>
                <a:gd name="connsiteX4" fmla="*/ 44476 w 128916"/>
                <a:gd name="connsiteY4" fmla="*/ 56789 h 154699"/>
                <a:gd name="connsiteX5" fmla="*/ 38675 w 128916"/>
                <a:gd name="connsiteY5" fmla="*/ 83861 h 154699"/>
                <a:gd name="connsiteX6" fmla="*/ 0 w 128916"/>
                <a:gd name="connsiteY6" fmla="*/ 121247 h 154699"/>
                <a:gd name="connsiteX7" fmla="*/ 19337 w 128916"/>
                <a:gd name="connsiteY7" fmla="*/ 147030 h 154699"/>
                <a:gd name="connsiteX8" fmla="*/ 25139 w 128916"/>
                <a:gd name="connsiteY8" fmla="*/ 153476 h 154699"/>
                <a:gd name="connsiteX9" fmla="*/ 105067 w 128916"/>
                <a:gd name="connsiteY9" fmla="*/ 109000 h 154699"/>
                <a:gd name="connsiteX10" fmla="*/ 132139 w 128916"/>
                <a:gd name="connsiteY10" fmla="*/ 44542 h 154699"/>
                <a:gd name="connsiteX11" fmla="*/ 132784 w 128916"/>
                <a:gd name="connsiteY11" fmla="*/ 38740 h 154699"/>
                <a:gd name="connsiteX12" fmla="*/ 128272 w 128916"/>
                <a:gd name="connsiteY12" fmla="*/ 33584 h 154699"/>
                <a:gd name="connsiteX13" fmla="*/ 76061 w 128916"/>
                <a:gd name="connsiteY13" fmla="*/ 66 h 154699"/>
                <a:gd name="connsiteX14" fmla="*/ 19982 w 128916"/>
                <a:gd name="connsiteY14" fmla="*/ 24560 h 154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8916" h="154699">
                  <a:moveTo>
                    <a:pt x="19982" y="24560"/>
                  </a:moveTo>
                  <a:cubicBezTo>
                    <a:pt x="18048" y="25849"/>
                    <a:pt x="16115" y="26493"/>
                    <a:pt x="14825" y="29072"/>
                  </a:cubicBezTo>
                  <a:cubicBezTo>
                    <a:pt x="13536" y="31650"/>
                    <a:pt x="14181" y="34228"/>
                    <a:pt x="14825" y="36807"/>
                  </a:cubicBezTo>
                  <a:cubicBezTo>
                    <a:pt x="16759" y="43253"/>
                    <a:pt x="18048" y="49698"/>
                    <a:pt x="19982" y="56144"/>
                  </a:cubicBezTo>
                  <a:cubicBezTo>
                    <a:pt x="19982" y="55500"/>
                    <a:pt x="41253" y="53566"/>
                    <a:pt x="44476" y="56789"/>
                  </a:cubicBezTo>
                  <a:cubicBezTo>
                    <a:pt x="53500" y="65168"/>
                    <a:pt x="45766" y="77415"/>
                    <a:pt x="38675" y="83861"/>
                  </a:cubicBezTo>
                  <a:cubicBezTo>
                    <a:pt x="25783" y="96108"/>
                    <a:pt x="12892" y="109000"/>
                    <a:pt x="0" y="121247"/>
                  </a:cubicBezTo>
                  <a:cubicBezTo>
                    <a:pt x="6446" y="129627"/>
                    <a:pt x="12892" y="138651"/>
                    <a:pt x="19337" y="147030"/>
                  </a:cubicBezTo>
                  <a:cubicBezTo>
                    <a:pt x="21271" y="149609"/>
                    <a:pt x="23205" y="151542"/>
                    <a:pt x="25139" y="153476"/>
                  </a:cubicBezTo>
                  <a:cubicBezTo>
                    <a:pt x="53500" y="174747"/>
                    <a:pt x="92175" y="128982"/>
                    <a:pt x="105067" y="109000"/>
                  </a:cubicBezTo>
                  <a:cubicBezTo>
                    <a:pt x="117314" y="89018"/>
                    <a:pt x="125693" y="66457"/>
                    <a:pt x="132139" y="44542"/>
                  </a:cubicBezTo>
                  <a:cubicBezTo>
                    <a:pt x="132784" y="42608"/>
                    <a:pt x="133428" y="40674"/>
                    <a:pt x="132784" y="38740"/>
                  </a:cubicBezTo>
                  <a:cubicBezTo>
                    <a:pt x="132139" y="36162"/>
                    <a:pt x="130206" y="34873"/>
                    <a:pt x="128272" y="33584"/>
                  </a:cubicBezTo>
                  <a:cubicBezTo>
                    <a:pt x="113447" y="23271"/>
                    <a:pt x="94754" y="710"/>
                    <a:pt x="76061" y="66"/>
                  </a:cubicBezTo>
                  <a:cubicBezTo>
                    <a:pt x="58012" y="-1224"/>
                    <a:pt x="35452" y="16825"/>
                    <a:pt x="19982" y="24560"/>
                  </a:cubicBezTo>
                  <a:close/>
                </a:path>
              </a:pathLst>
            </a:custGeom>
            <a:solidFill>
              <a:srgbClr val="CC937A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AA8B230C-DE5B-4171-9799-0F7D61A87EFF}"/>
                </a:ext>
              </a:extLst>
            </p:cNvPr>
            <p:cNvSpPr/>
            <p:nvPr/>
          </p:nvSpPr>
          <p:spPr>
            <a:xfrm>
              <a:off x="6067513" y="2879519"/>
              <a:ext cx="359014" cy="819749"/>
            </a:xfrm>
            <a:custGeom>
              <a:avLst/>
              <a:gdLst>
                <a:gd name="connsiteX0" fmla="*/ 176769 w 386748"/>
                <a:gd name="connsiteY0" fmla="*/ 549420 h 883076"/>
                <a:gd name="connsiteX1" fmla="*/ 169035 w 386748"/>
                <a:gd name="connsiteY1" fmla="*/ 617746 h 883076"/>
                <a:gd name="connsiteX2" fmla="*/ 70413 w 386748"/>
                <a:gd name="connsiteY2" fmla="*/ 751174 h 883076"/>
                <a:gd name="connsiteX3" fmla="*/ 16913 w 386748"/>
                <a:gd name="connsiteY3" fmla="*/ 791783 h 883076"/>
                <a:gd name="connsiteX4" fmla="*/ 799 w 386748"/>
                <a:gd name="connsiteY4" fmla="*/ 819500 h 883076"/>
                <a:gd name="connsiteX5" fmla="*/ 38829 w 386748"/>
                <a:gd name="connsiteY5" fmla="*/ 856241 h 883076"/>
                <a:gd name="connsiteX6" fmla="*/ 69769 w 386748"/>
                <a:gd name="connsiteY6" fmla="*/ 887181 h 883076"/>
                <a:gd name="connsiteX7" fmla="*/ 107155 w 386748"/>
                <a:gd name="connsiteY7" fmla="*/ 863331 h 883076"/>
                <a:gd name="connsiteX8" fmla="*/ 181281 w 386748"/>
                <a:gd name="connsiteY8" fmla="*/ 803385 h 883076"/>
                <a:gd name="connsiteX9" fmla="*/ 365632 w 386748"/>
                <a:gd name="connsiteY9" fmla="*/ 579715 h 883076"/>
                <a:gd name="connsiteX10" fmla="*/ 386903 w 386748"/>
                <a:gd name="connsiteY10" fmla="*/ 542330 h 883076"/>
                <a:gd name="connsiteX11" fmla="*/ 382391 w 386748"/>
                <a:gd name="connsiteY11" fmla="*/ 508167 h 883076"/>
                <a:gd name="connsiteX12" fmla="*/ 287637 w 386748"/>
                <a:gd name="connsiteY12" fmla="*/ 169117 h 883076"/>
                <a:gd name="connsiteX13" fmla="*/ 216089 w 386748"/>
                <a:gd name="connsiteY13" fmla="*/ 20863 h 883076"/>
                <a:gd name="connsiteX14" fmla="*/ 158721 w 386748"/>
                <a:gd name="connsiteY14" fmla="*/ 2815 h 883076"/>
                <a:gd name="connsiteX15" fmla="*/ 135516 w 386748"/>
                <a:gd name="connsiteY15" fmla="*/ 72430 h 883076"/>
                <a:gd name="connsiteX16" fmla="*/ 158721 w 386748"/>
                <a:gd name="connsiteY16" fmla="*/ 357979 h 883076"/>
                <a:gd name="connsiteX17" fmla="*/ 170324 w 386748"/>
                <a:gd name="connsiteY17" fmla="*/ 500432 h 883076"/>
                <a:gd name="connsiteX18" fmla="*/ 176769 w 386748"/>
                <a:gd name="connsiteY18" fmla="*/ 549420 h 883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86748" h="883076">
                  <a:moveTo>
                    <a:pt x="176769" y="549420"/>
                  </a:moveTo>
                  <a:cubicBezTo>
                    <a:pt x="179348" y="573269"/>
                    <a:pt x="179348" y="597119"/>
                    <a:pt x="169035" y="617746"/>
                  </a:cubicBezTo>
                  <a:cubicBezTo>
                    <a:pt x="144540" y="667378"/>
                    <a:pt x="109088" y="711210"/>
                    <a:pt x="70413" y="751174"/>
                  </a:cubicBezTo>
                  <a:cubicBezTo>
                    <a:pt x="54944" y="767288"/>
                    <a:pt x="33673" y="776957"/>
                    <a:pt x="16913" y="791783"/>
                  </a:cubicBezTo>
                  <a:cubicBezTo>
                    <a:pt x="7889" y="800162"/>
                    <a:pt x="-3069" y="807897"/>
                    <a:pt x="799" y="819500"/>
                  </a:cubicBezTo>
                  <a:cubicBezTo>
                    <a:pt x="4666" y="831102"/>
                    <a:pt x="29805" y="847861"/>
                    <a:pt x="38829" y="856241"/>
                  </a:cubicBezTo>
                  <a:cubicBezTo>
                    <a:pt x="45275" y="862687"/>
                    <a:pt x="61389" y="885891"/>
                    <a:pt x="69769" y="887181"/>
                  </a:cubicBezTo>
                  <a:cubicBezTo>
                    <a:pt x="80082" y="888470"/>
                    <a:pt x="98775" y="869777"/>
                    <a:pt x="107155" y="863331"/>
                  </a:cubicBezTo>
                  <a:cubicBezTo>
                    <a:pt x="132938" y="844638"/>
                    <a:pt x="157432" y="824656"/>
                    <a:pt x="181281" y="803385"/>
                  </a:cubicBezTo>
                  <a:cubicBezTo>
                    <a:pt x="256698" y="736349"/>
                    <a:pt x="301818" y="655776"/>
                    <a:pt x="365632" y="579715"/>
                  </a:cubicBezTo>
                  <a:cubicBezTo>
                    <a:pt x="375301" y="568757"/>
                    <a:pt x="384969" y="556510"/>
                    <a:pt x="386903" y="542330"/>
                  </a:cubicBezTo>
                  <a:cubicBezTo>
                    <a:pt x="388837" y="530727"/>
                    <a:pt x="385614" y="519125"/>
                    <a:pt x="382391" y="508167"/>
                  </a:cubicBezTo>
                  <a:cubicBezTo>
                    <a:pt x="350806" y="395365"/>
                    <a:pt x="319222" y="281919"/>
                    <a:pt x="287637" y="169117"/>
                  </a:cubicBezTo>
                  <a:cubicBezTo>
                    <a:pt x="272812" y="115617"/>
                    <a:pt x="256053" y="59538"/>
                    <a:pt x="216089" y="20863"/>
                  </a:cubicBezTo>
                  <a:cubicBezTo>
                    <a:pt x="200619" y="6038"/>
                    <a:pt x="178059" y="-5565"/>
                    <a:pt x="158721" y="2815"/>
                  </a:cubicBezTo>
                  <a:cubicBezTo>
                    <a:pt x="134872" y="13773"/>
                    <a:pt x="133583" y="46646"/>
                    <a:pt x="135516" y="72430"/>
                  </a:cubicBezTo>
                  <a:cubicBezTo>
                    <a:pt x="143251" y="167828"/>
                    <a:pt x="150986" y="262581"/>
                    <a:pt x="158721" y="357979"/>
                  </a:cubicBezTo>
                  <a:cubicBezTo>
                    <a:pt x="162589" y="405678"/>
                    <a:pt x="166456" y="453377"/>
                    <a:pt x="170324" y="500432"/>
                  </a:cubicBezTo>
                  <a:cubicBezTo>
                    <a:pt x="172258" y="516546"/>
                    <a:pt x="174836" y="532661"/>
                    <a:pt x="176769" y="549420"/>
                  </a:cubicBezTo>
                  <a:close/>
                </a:path>
              </a:pathLst>
            </a:custGeom>
            <a:solidFill>
              <a:srgbClr val="EDB159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01903AFE-D4C2-414C-AD14-7B14C4908037}"/>
                </a:ext>
              </a:extLst>
            </p:cNvPr>
            <p:cNvSpPr/>
            <p:nvPr/>
          </p:nvSpPr>
          <p:spPr>
            <a:xfrm>
              <a:off x="5520793" y="3427234"/>
              <a:ext cx="107704" cy="89753"/>
            </a:xfrm>
            <a:custGeom>
              <a:avLst/>
              <a:gdLst>
                <a:gd name="connsiteX0" fmla="*/ 8987 w 116024"/>
                <a:gd name="connsiteY0" fmla="*/ 86374 h 96687"/>
                <a:gd name="connsiteX1" fmla="*/ 12209 w 116024"/>
                <a:gd name="connsiteY1" fmla="*/ 90241 h 96687"/>
                <a:gd name="connsiteX2" fmla="*/ 19300 w 116024"/>
                <a:gd name="connsiteY2" fmla="*/ 91531 h 96687"/>
                <a:gd name="connsiteX3" fmla="*/ 70866 w 116024"/>
                <a:gd name="connsiteY3" fmla="*/ 99910 h 96687"/>
                <a:gd name="connsiteX4" fmla="*/ 115987 w 116024"/>
                <a:gd name="connsiteY4" fmla="*/ 90886 h 96687"/>
                <a:gd name="connsiteX5" fmla="*/ 114053 w 116024"/>
                <a:gd name="connsiteY5" fmla="*/ 37386 h 96687"/>
                <a:gd name="connsiteX6" fmla="*/ 105674 w 116024"/>
                <a:gd name="connsiteY6" fmla="*/ 14825 h 96687"/>
                <a:gd name="connsiteX7" fmla="*/ 78601 w 116024"/>
                <a:gd name="connsiteY7" fmla="*/ 2578 h 96687"/>
                <a:gd name="connsiteX8" fmla="*/ 50239 w 116024"/>
                <a:gd name="connsiteY8" fmla="*/ 0 h 96687"/>
                <a:gd name="connsiteX9" fmla="*/ 35414 w 116024"/>
                <a:gd name="connsiteY9" fmla="*/ 1934 h 96687"/>
                <a:gd name="connsiteX10" fmla="*/ 21233 w 116024"/>
                <a:gd name="connsiteY10" fmla="*/ 13536 h 96687"/>
                <a:gd name="connsiteX11" fmla="*/ 8987 w 116024"/>
                <a:gd name="connsiteY11" fmla="*/ 86374 h 96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6024" h="96687">
                  <a:moveTo>
                    <a:pt x="8987" y="86374"/>
                  </a:moveTo>
                  <a:cubicBezTo>
                    <a:pt x="9631" y="87663"/>
                    <a:pt x="10920" y="89597"/>
                    <a:pt x="12209" y="90241"/>
                  </a:cubicBezTo>
                  <a:cubicBezTo>
                    <a:pt x="14143" y="91531"/>
                    <a:pt x="16722" y="91531"/>
                    <a:pt x="19300" y="91531"/>
                  </a:cubicBezTo>
                  <a:cubicBezTo>
                    <a:pt x="36703" y="90886"/>
                    <a:pt x="53462" y="101199"/>
                    <a:pt x="70866" y="99910"/>
                  </a:cubicBezTo>
                  <a:cubicBezTo>
                    <a:pt x="86336" y="98621"/>
                    <a:pt x="100517" y="89597"/>
                    <a:pt x="115987" y="90886"/>
                  </a:cubicBezTo>
                  <a:cubicBezTo>
                    <a:pt x="117276" y="72838"/>
                    <a:pt x="116632" y="55434"/>
                    <a:pt x="114053" y="37386"/>
                  </a:cubicBezTo>
                  <a:cubicBezTo>
                    <a:pt x="112764" y="29006"/>
                    <a:pt x="110830" y="20627"/>
                    <a:pt x="105674" y="14825"/>
                  </a:cubicBezTo>
                  <a:cubicBezTo>
                    <a:pt x="99228" y="7090"/>
                    <a:pt x="88914" y="3868"/>
                    <a:pt x="78601" y="2578"/>
                  </a:cubicBezTo>
                  <a:cubicBezTo>
                    <a:pt x="69577" y="645"/>
                    <a:pt x="59908" y="0"/>
                    <a:pt x="50239" y="0"/>
                  </a:cubicBezTo>
                  <a:cubicBezTo>
                    <a:pt x="45083" y="0"/>
                    <a:pt x="40571" y="0"/>
                    <a:pt x="35414" y="1934"/>
                  </a:cubicBezTo>
                  <a:cubicBezTo>
                    <a:pt x="29613" y="4512"/>
                    <a:pt x="25745" y="9024"/>
                    <a:pt x="21233" y="13536"/>
                  </a:cubicBezTo>
                  <a:cubicBezTo>
                    <a:pt x="-682" y="38030"/>
                    <a:pt x="-7128" y="56723"/>
                    <a:pt x="8987" y="86374"/>
                  </a:cubicBezTo>
                  <a:close/>
                </a:path>
              </a:pathLst>
            </a:custGeom>
            <a:solidFill>
              <a:srgbClr val="CC937A"/>
            </a:solidFill>
            <a:ln w="64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4875586" y="1130300"/>
            <a:ext cx="5828425" cy="266324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accent3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875586" y="4478274"/>
            <a:ext cx="5828425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400" smtClean="0">
                <a:solidFill>
                  <a:schemeClr val="accent3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875588" y="4182003"/>
            <a:ext cx="5828425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accent3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41915305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4AFB216-41A9-4097-BB8C-6CC0A4F2A1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D97C6770-CAA2-4B7C-8B40-D7D17BFC44B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C5703DDD-6F74-431C-8012-BA66FE663E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647AA-1A92-432A-AE00-A5E209B17D63}" type="datetimeFigureOut">
              <a:rPr lang="zh-CN" altLang="en-US" smtClean="0"/>
              <a:t>2021/9/24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EF9F1C4F-4D5E-4702-B35C-0386C99130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78939A4A-9BFC-4AE3-81C8-1B331EC583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69707-F7A5-4459-9E68-712872E1A4D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968309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B8AD748-858B-4FD2-BD0A-D27474FAA5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77ED8EAE-A6B1-4802-9D4C-B575172352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803A9FBF-CE09-4B2F-B944-6A81F1323D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647AA-1A92-432A-AE00-A5E209B17D63}" type="datetimeFigureOut">
              <a:rPr lang="zh-CN" altLang="en-US" smtClean="0"/>
              <a:t>2021/9/24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47B06AE3-09E4-4FEF-B2B3-B9C36E7885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081065A8-B157-4D1E-835E-8B708B541D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69707-F7A5-4459-9E68-712872E1A4D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714695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87791FE-1CFE-480E-8DB9-D76928BAEB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AE142C2D-D55F-4888-A164-65263A852C0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35188C35-1099-47A8-A4F2-DC0E3F0BD0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A0987C70-8268-4E2D-8079-B014961F8A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647AA-1A92-432A-AE00-A5E209B17D63}" type="datetimeFigureOut">
              <a:rPr lang="zh-CN" altLang="en-US" smtClean="0"/>
              <a:t>2021/9/24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3B3319CF-DF75-4BF0-B0C2-2B19858486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A46A686E-C9F0-46F4-A065-3CE06ABFCA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69707-F7A5-4459-9E68-712872E1A4D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260608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85C52EE-1168-47B5-A1CD-138C5F65B4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737A8427-D972-43B0-97F8-494A4C7937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2B022A89-B0FC-4D51-BB69-4DD94C34146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736D8A1F-A9A0-4E0A-A2F5-A2C0613EC33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EE685F34-BB0B-4644-8F57-B6D0C701709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19D06824-B1C0-43FF-8E81-DA52428F90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647AA-1A92-432A-AE00-A5E209B17D63}" type="datetimeFigureOut">
              <a:rPr lang="zh-CN" altLang="en-US" smtClean="0"/>
              <a:t>2021/9/24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A6AE8B0A-1B5F-45D4-A799-859F2F8C34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FA2C3837-2958-47D5-9EE5-3B0E2CB23C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69707-F7A5-4459-9E68-712872E1A4D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132406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8A12FDB-9850-4242-920D-1B1AF83EEE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F440D1D-7A5C-480A-9EF0-8A127504EC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647AA-1A92-432A-AE00-A5E209B17D63}" type="datetimeFigureOut">
              <a:rPr lang="zh-CN" altLang="en-US" smtClean="0"/>
              <a:t>2021/9/24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B61E43FB-3824-49EA-994D-874CC902D5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5D41A96-68BD-4285-BF61-9B094A9FAF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69707-F7A5-4459-9E68-712872E1A4D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176514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DA0092DB-4975-42D3-B840-E8149A53CD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647AA-1A92-432A-AE00-A5E209B17D63}" type="datetimeFigureOut">
              <a:rPr lang="zh-CN" altLang="en-US" smtClean="0"/>
              <a:t>2021/9/24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5D4C38B9-3A48-4241-86AB-986E468B78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8E138F0-1E6F-4ADA-8933-357A4C8FEB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69707-F7A5-4459-9E68-712872E1A4D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365599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017C613-53F8-4F8E-8D28-3680A81CBD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9AE41245-BF51-4B8F-8CA0-E08342FB3B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E2579646-A332-46C0-A6E6-C15EB86C6CC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A670FC5C-F076-4918-A77F-14740F3AF4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647AA-1A92-432A-AE00-A5E209B17D63}" type="datetimeFigureOut">
              <a:rPr lang="zh-CN" altLang="en-US" smtClean="0"/>
              <a:t>2021/9/24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DC5640C8-E763-4C8D-916E-F2E04FD48A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DF93BD5F-CCCA-4E18-951E-BDC184F560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69707-F7A5-4459-9E68-712872E1A4D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307929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293BA3C-2882-42BD-8135-83D0278404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9ABC4CA4-6B07-4E78-835D-5C35B89AF19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4FFE5026-1FA2-42B8-93DF-1BAD54B4BDC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68B23092-67CE-4EEF-BD29-F0947F00FD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647AA-1A92-432A-AE00-A5E209B17D63}" type="datetimeFigureOut">
              <a:rPr lang="zh-CN" altLang="en-US" smtClean="0"/>
              <a:t>2021/9/24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8B0B46C4-9B71-4F36-B6EF-A4EDC54C06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A1E48FF0-8238-4F78-A595-551F6A3C87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69707-F7A5-4459-9E68-712872E1A4D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077087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F156609A-23CD-44DC-8812-C3EEC80FC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7BA5E760-B01A-42FA-A513-51E25BC98F6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6085409A-8B3B-4592-A41F-37867F2040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0647AA-1A92-432A-AE00-A5E209B17D63}" type="datetimeFigureOut">
              <a:rPr lang="zh-CN" altLang="en-US" smtClean="0"/>
              <a:t>2021/9/24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7D1F6999-4AF3-468F-BE51-3314AC3EC9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DEB7487-F1CA-40EE-97DB-23374CB20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F69707-F7A5-4459-9E68-712872E1A4D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910417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5" Type="http://schemas.openxmlformats.org/officeDocument/2006/relationships/hyperlink" Target="mailto:sufi_jiang@163.com" TargetMode="External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mailto:sufi_jiang@163.com" TargetMode="External"/><Relationship Id="rId3" Type="http://schemas.openxmlformats.org/officeDocument/2006/relationships/tags" Target="../tags/tag2.xml"/><Relationship Id="rId7" Type="http://schemas.openxmlformats.org/officeDocument/2006/relationships/image" Target="../media/image3.emf"/><Relationship Id="rId2" Type="http://schemas.openxmlformats.org/officeDocument/2006/relationships/tags" Target="../tags/tag1.xml"/><Relationship Id="rId1" Type="http://schemas.openxmlformats.org/officeDocument/2006/relationships/themeOverride" Target="../theme/themeOverride3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:a16="http://schemas.microsoft.com/office/drawing/2014/main" id="{CE7F6F95-672F-4961-9411-34169AF2EB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0204" y="199534"/>
            <a:ext cx="3187700" cy="822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A404DF3A-21EE-4803-9595-F6ECCBFF38C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096" y="53115"/>
            <a:ext cx="968744" cy="968744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3BDAE901-FE57-410F-A03C-16B074B614A0}"/>
              </a:ext>
            </a:extLst>
          </p:cNvPr>
          <p:cNvSpPr txBox="1"/>
          <p:nvPr/>
        </p:nvSpPr>
        <p:spPr>
          <a:xfrm>
            <a:off x="963105" y="2190517"/>
            <a:ext cx="10265790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200"/>
              </a:spcBef>
              <a:spcAft>
                <a:spcPts val="500"/>
              </a:spcAft>
            </a:pPr>
            <a:r>
              <a:rPr lang="en-US" altLang="zh-CN" sz="28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opic Evolution Path and Semantic Relationship Discovery Based on Patent Entity Relationship</a:t>
            </a:r>
            <a:r>
              <a:rPr lang="en-US" altLang="zh-CN" sz="3200" b="1" baseline="30000" dirty="0">
                <a:effectLst/>
                <a:latin typeface="MS Gothic" panose="020B0609070205080204" pitchFamily="49" charset="-128"/>
                <a:ea typeface="Times New Roman" panose="02020603050405020304" pitchFamily="18" charset="0"/>
                <a:cs typeface="MS Gothic" panose="020B0609070205080204" pitchFamily="49" charset="-128"/>
              </a:rPr>
              <a:t>∗</a:t>
            </a:r>
            <a:endParaRPr lang="zh-CN" altLang="zh-CN" sz="3200" b="1" dirty="0">
              <a:effectLst/>
              <a:latin typeface="Linux Biolinum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6F7CFA22-6D42-46C1-B8F4-7C2A02A59889}"/>
              </a:ext>
            </a:extLst>
          </p:cNvPr>
          <p:cNvSpPr txBox="1"/>
          <p:nvPr/>
        </p:nvSpPr>
        <p:spPr>
          <a:xfrm>
            <a:off x="435990" y="4159651"/>
            <a:ext cx="5660010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1400"/>
              </a:spcBef>
              <a:spcAft>
                <a:spcPts val="800"/>
              </a:spcAft>
            </a:pPr>
            <a:r>
              <a:rPr lang="en-US" altLang="zh-CN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Jinzhu Zhang</a:t>
            </a:r>
            <a:r>
              <a:rPr lang="en-US" altLang="zh-CN" sz="1800" baseline="300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†</a:t>
            </a:r>
            <a:br>
              <a:rPr lang="en-US" altLang="zh-CN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</a:br>
            <a:r>
              <a:rPr lang="en-US" altLang="zh-CN" sz="1800" dirty="0">
                <a:solidFill>
                  <a:srgbClr val="548DD4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 Department of Information Management, School of Economics &amp; Management</a:t>
            </a:r>
            <a:br>
              <a:rPr lang="en-US" altLang="zh-CN" sz="1800" dirty="0">
                <a:solidFill>
                  <a:srgbClr val="17365D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</a:br>
            <a:r>
              <a:rPr lang="en-US" altLang="zh-CN" sz="1800" dirty="0">
                <a:solidFill>
                  <a:srgbClr val="17365D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 Nanjing University of Science and Technology</a:t>
            </a:r>
            <a:br>
              <a:rPr lang="en-US" altLang="zh-CN" sz="1800" dirty="0">
                <a:solidFill>
                  <a:srgbClr val="17365D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</a:br>
            <a:r>
              <a:rPr lang="en-US" altLang="zh-CN" sz="1800" dirty="0">
                <a:solidFill>
                  <a:srgbClr val="17365D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Nanjing 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China </a:t>
            </a:r>
            <a:br>
              <a:rPr lang="en-US" altLang="zh-CN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</a:br>
            <a:r>
              <a:rPr lang="en-US" altLang="zh-CN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altLang="zh-CN" sz="1800" dirty="0">
                <a:solidFill>
                  <a:srgbClr val="0808B8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zhangjinzhu@njust.edu.cn</a:t>
            </a:r>
            <a:endParaRPr lang="zh-CN" altLang="zh-CN" sz="3200" dirty="0">
              <a:effectLst/>
              <a:latin typeface="Linux Libertine"/>
              <a:ea typeface="Calibri" panose="020F0502020204030204" pitchFamily="34" charset="0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661E6178-5B2E-4EB4-94D2-B4476A0B35AB}"/>
              </a:ext>
            </a:extLst>
          </p:cNvPr>
          <p:cNvSpPr txBox="1"/>
          <p:nvPr/>
        </p:nvSpPr>
        <p:spPr>
          <a:xfrm>
            <a:off x="6643951" y="4159651"/>
            <a:ext cx="5017006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1400"/>
              </a:spcBef>
              <a:spcAft>
                <a:spcPts val="800"/>
              </a:spcAft>
            </a:pPr>
            <a:r>
              <a:rPr lang="en-US" altLang="zh-CN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Linqi Jiang</a:t>
            </a:r>
            <a:br>
              <a:rPr lang="en-US" altLang="zh-CN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</a:br>
            <a:r>
              <a:rPr lang="en-US" altLang="zh-CN" sz="1800" dirty="0">
                <a:solidFill>
                  <a:srgbClr val="548DD4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Department of Information Management, School of Economics &amp; Management</a:t>
            </a:r>
            <a:br>
              <a:rPr lang="en-US" altLang="zh-CN" sz="1800" dirty="0">
                <a:solidFill>
                  <a:srgbClr val="17365D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</a:br>
            <a:r>
              <a:rPr lang="en-US" altLang="zh-CN" sz="1800" dirty="0">
                <a:solidFill>
                  <a:srgbClr val="17365D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 Nanjing University of Science and Technology</a:t>
            </a:r>
            <a:br>
              <a:rPr lang="en-US" altLang="zh-CN" sz="1800" dirty="0">
                <a:solidFill>
                  <a:srgbClr val="17365D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</a:br>
            <a:r>
              <a:rPr lang="en-US" altLang="zh-CN" sz="1800" dirty="0">
                <a:solidFill>
                  <a:srgbClr val="17365D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Nanjing 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China </a:t>
            </a:r>
            <a:br>
              <a:rPr lang="en-US" altLang="zh-CN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</a:br>
            <a:r>
              <a:rPr lang="en-US" altLang="zh-CN" sz="1800" u="none" strike="noStrike" dirty="0">
                <a:solidFill>
                  <a:srgbClr val="0808B8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hlinkClick r:id="rId5"/>
              </a:rPr>
              <a:t>sufi_jiang@163.com</a:t>
            </a:r>
            <a:endParaRPr lang="zh-CN" altLang="zh-CN" sz="3200" dirty="0">
              <a:effectLst/>
              <a:latin typeface="Linux Libertine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27868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>
            <a:extLst>
              <a:ext uri="{FF2B5EF4-FFF2-40B4-BE49-F238E27FC236}">
                <a16:creationId xmlns:a16="http://schemas.microsoft.com/office/drawing/2014/main" id="{8D8C4279-E35F-43E2-936A-908D196B5BD0}"/>
              </a:ext>
            </a:extLst>
          </p:cNvPr>
          <p:cNvSpPr txBox="1"/>
          <p:nvPr/>
        </p:nvSpPr>
        <p:spPr>
          <a:xfrm>
            <a:off x="718764" y="1548904"/>
            <a:ext cx="11130729" cy="12966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dirty="0"/>
              <a:t>Current studies didn't consider all the words in the patent and the semantic relationship between them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dirty="0"/>
              <a:t>the relationships among topics should be more concrete, we should not only find the evolution relationship, but also need to reveal the semantic relationships among topics</a:t>
            </a:r>
            <a:endParaRPr lang="zh-CN" altLang="en-US" dirty="0"/>
          </a:p>
        </p:txBody>
      </p:sp>
      <p:sp>
        <p:nvSpPr>
          <p:cNvPr id="5" name="椭圆 4">
            <a:extLst>
              <a:ext uri="{FF2B5EF4-FFF2-40B4-BE49-F238E27FC236}">
                <a16:creationId xmlns:a16="http://schemas.microsoft.com/office/drawing/2014/main" id="{A0D28075-471A-4846-82C5-23E8F5EF056F}"/>
              </a:ext>
            </a:extLst>
          </p:cNvPr>
          <p:cNvSpPr/>
          <p:nvPr/>
        </p:nvSpPr>
        <p:spPr>
          <a:xfrm>
            <a:off x="382967" y="3922489"/>
            <a:ext cx="1775775" cy="175432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u="sng" dirty="0"/>
              <a:t>Topic1</a:t>
            </a:r>
          </a:p>
          <a:p>
            <a:pPr algn="ctr"/>
            <a:r>
              <a:rPr lang="en-US" altLang="zh-CN" sz="1600" dirty="0"/>
              <a:t>Keyword1;</a:t>
            </a:r>
          </a:p>
          <a:p>
            <a:pPr algn="ctr"/>
            <a:r>
              <a:rPr lang="en-US" altLang="zh-CN" sz="1600" dirty="0"/>
              <a:t>Keyword2;</a:t>
            </a:r>
          </a:p>
          <a:p>
            <a:pPr algn="ctr"/>
            <a:r>
              <a:rPr lang="en-US" altLang="zh-CN" sz="1600" dirty="0"/>
              <a:t>…</a:t>
            </a:r>
            <a:endParaRPr lang="zh-CN" altLang="en-US" sz="1600" dirty="0"/>
          </a:p>
        </p:txBody>
      </p:sp>
      <p:sp>
        <p:nvSpPr>
          <p:cNvPr id="6" name="箭头: 右 5">
            <a:extLst>
              <a:ext uri="{FF2B5EF4-FFF2-40B4-BE49-F238E27FC236}">
                <a16:creationId xmlns:a16="http://schemas.microsoft.com/office/drawing/2014/main" id="{D91B2AE6-0F6B-49B9-9493-EE7CE8C3F720}"/>
              </a:ext>
            </a:extLst>
          </p:cNvPr>
          <p:cNvSpPr/>
          <p:nvPr/>
        </p:nvSpPr>
        <p:spPr>
          <a:xfrm>
            <a:off x="2458634" y="4889789"/>
            <a:ext cx="1300899" cy="28280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椭圆 6">
            <a:extLst>
              <a:ext uri="{FF2B5EF4-FFF2-40B4-BE49-F238E27FC236}">
                <a16:creationId xmlns:a16="http://schemas.microsoft.com/office/drawing/2014/main" id="{36E86F7D-3703-4E44-9086-AB46CF351730}"/>
              </a:ext>
            </a:extLst>
          </p:cNvPr>
          <p:cNvSpPr/>
          <p:nvPr/>
        </p:nvSpPr>
        <p:spPr>
          <a:xfrm>
            <a:off x="4028789" y="3963970"/>
            <a:ext cx="1696823" cy="171284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u="sng" dirty="0"/>
              <a:t>Topic2</a:t>
            </a:r>
          </a:p>
          <a:p>
            <a:pPr algn="ctr"/>
            <a:r>
              <a:rPr lang="en-US" altLang="zh-CN" sz="1600" dirty="0"/>
              <a:t>Keyword1;</a:t>
            </a:r>
          </a:p>
          <a:p>
            <a:pPr algn="ctr"/>
            <a:r>
              <a:rPr lang="en-US" altLang="zh-CN" sz="1600" dirty="0"/>
              <a:t>Keyword2;</a:t>
            </a:r>
          </a:p>
          <a:p>
            <a:pPr algn="ctr"/>
            <a:r>
              <a:rPr lang="en-US" altLang="zh-CN" sz="1600" dirty="0"/>
              <a:t>…</a:t>
            </a:r>
            <a:endParaRPr lang="zh-CN" altLang="en-US" sz="1600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4F80088B-5728-41A2-B17C-F01A4B5618B0}"/>
              </a:ext>
            </a:extLst>
          </p:cNvPr>
          <p:cNvSpPr txBox="1"/>
          <p:nvPr/>
        </p:nvSpPr>
        <p:spPr>
          <a:xfrm>
            <a:off x="2443316" y="4408617"/>
            <a:ext cx="130089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integration</a:t>
            </a:r>
            <a:endParaRPr lang="zh-CN" altLang="en-US" sz="4400" dirty="0"/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F490C866-5859-494D-8EE5-CCA8F636C783}"/>
              </a:ext>
            </a:extLst>
          </p:cNvPr>
          <p:cNvSpPr txBox="1"/>
          <p:nvPr/>
        </p:nvSpPr>
        <p:spPr>
          <a:xfrm>
            <a:off x="1817611" y="5819433"/>
            <a:ext cx="255230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dirty="0"/>
              <a:t>Current studies</a:t>
            </a:r>
            <a:endParaRPr lang="zh-CN" altLang="en-US" dirty="0"/>
          </a:p>
        </p:txBody>
      </p:sp>
      <p:sp>
        <p:nvSpPr>
          <p:cNvPr id="17" name="椭圆 16">
            <a:extLst>
              <a:ext uri="{FF2B5EF4-FFF2-40B4-BE49-F238E27FC236}">
                <a16:creationId xmlns:a16="http://schemas.microsoft.com/office/drawing/2014/main" id="{7BD1CCD4-7D71-4EFA-BFC8-CD271A739F74}"/>
              </a:ext>
            </a:extLst>
          </p:cNvPr>
          <p:cNvSpPr/>
          <p:nvPr/>
        </p:nvSpPr>
        <p:spPr>
          <a:xfrm>
            <a:off x="6389412" y="3922489"/>
            <a:ext cx="1775775" cy="175432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u="sng" dirty="0"/>
              <a:t>Topic1</a:t>
            </a:r>
          </a:p>
          <a:p>
            <a:pPr algn="ctr"/>
            <a:r>
              <a:rPr lang="en-US" altLang="zh-CN" sz="1600" dirty="0"/>
              <a:t>Entity1;</a:t>
            </a:r>
          </a:p>
          <a:p>
            <a:pPr algn="ctr"/>
            <a:r>
              <a:rPr lang="en-US" altLang="zh-CN" sz="1600" dirty="0"/>
              <a:t>Entity2;</a:t>
            </a:r>
          </a:p>
          <a:p>
            <a:pPr algn="ctr"/>
            <a:r>
              <a:rPr lang="en-US" altLang="zh-CN" sz="1600" dirty="0"/>
              <a:t>…</a:t>
            </a:r>
            <a:endParaRPr lang="zh-CN" altLang="en-US" sz="1600" dirty="0"/>
          </a:p>
        </p:txBody>
      </p:sp>
      <p:sp>
        <p:nvSpPr>
          <p:cNvPr id="18" name="箭头: 右 17">
            <a:extLst>
              <a:ext uri="{FF2B5EF4-FFF2-40B4-BE49-F238E27FC236}">
                <a16:creationId xmlns:a16="http://schemas.microsoft.com/office/drawing/2014/main" id="{CC03FB9A-5023-40B9-A878-6B1099CCA02C}"/>
              </a:ext>
            </a:extLst>
          </p:cNvPr>
          <p:cNvSpPr/>
          <p:nvPr/>
        </p:nvSpPr>
        <p:spPr>
          <a:xfrm>
            <a:off x="8465079" y="4889789"/>
            <a:ext cx="1300899" cy="28280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椭圆 18">
            <a:extLst>
              <a:ext uri="{FF2B5EF4-FFF2-40B4-BE49-F238E27FC236}">
                <a16:creationId xmlns:a16="http://schemas.microsoft.com/office/drawing/2014/main" id="{C8FFB338-A80E-4000-BEDD-1BD3C4FCE72D}"/>
              </a:ext>
            </a:extLst>
          </p:cNvPr>
          <p:cNvSpPr/>
          <p:nvPr/>
        </p:nvSpPr>
        <p:spPr>
          <a:xfrm>
            <a:off x="10035234" y="3963970"/>
            <a:ext cx="1696823" cy="171284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600" b="1" u="sng" dirty="0"/>
              <a:t>Topic2</a:t>
            </a:r>
          </a:p>
          <a:p>
            <a:pPr algn="ctr"/>
            <a:r>
              <a:rPr lang="en-US" altLang="zh-CN" sz="1600" dirty="0"/>
              <a:t>Entity1;</a:t>
            </a:r>
          </a:p>
          <a:p>
            <a:pPr algn="ctr"/>
            <a:r>
              <a:rPr lang="en-US" altLang="zh-CN" sz="1600" dirty="0"/>
              <a:t>Entity2;</a:t>
            </a:r>
          </a:p>
          <a:p>
            <a:pPr algn="ctr"/>
            <a:r>
              <a:rPr lang="en-US" altLang="zh-CN" sz="1600" dirty="0"/>
              <a:t>…</a:t>
            </a:r>
            <a:endParaRPr lang="zh-CN" altLang="en-US" sz="1600" dirty="0"/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5FFEFDBE-89F5-4E8A-85C1-3AB47AD338B2}"/>
              </a:ext>
            </a:extLst>
          </p:cNvPr>
          <p:cNvSpPr txBox="1"/>
          <p:nvPr/>
        </p:nvSpPr>
        <p:spPr>
          <a:xfrm>
            <a:off x="8373070" y="4116229"/>
            <a:ext cx="145427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Integration in Function-Area</a:t>
            </a:r>
            <a:endParaRPr lang="zh-CN" altLang="en-US" sz="4400" dirty="0"/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6529C156-ADB1-4D21-AAF1-7DD76A36F94C}"/>
              </a:ext>
            </a:extLst>
          </p:cNvPr>
          <p:cNvSpPr txBox="1"/>
          <p:nvPr/>
        </p:nvSpPr>
        <p:spPr>
          <a:xfrm>
            <a:off x="7824056" y="5819433"/>
            <a:ext cx="255230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dirty="0"/>
              <a:t>Our studies</a:t>
            </a:r>
            <a:endParaRPr lang="zh-CN" altLang="en-US" dirty="0"/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FF08E288-BD02-40E3-A04C-CC39D4EF8277}"/>
              </a:ext>
            </a:extLst>
          </p:cNvPr>
          <p:cNvSpPr txBox="1"/>
          <p:nvPr/>
        </p:nvSpPr>
        <p:spPr>
          <a:xfrm>
            <a:off x="220941" y="220229"/>
            <a:ext cx="574622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b="1" dirty="0"/>
              <a:t>Limitations of Existing Work</a:t>
            </a:r>
          </a:p>
        </p:txBody>
      </p:sp>
    </p:spTree>
    <p:extLst>
      <p:ext uri="{BB962C8B-B14F-4D97-AF65-F5344CB8AC3E}">
        <p14:creationId xmlns:p14="http://schemas.microsoft.com/office/powerpoint/2010/main" val="13406918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>
            <a:extLst>
              <a:ext uri="{FF2B5EF4-FFF2-40B4-BE49-F238E27FC236}">
                <a16:creationId xmlns:a16="http://schemas.microsoft.com/office/drawing/2014/main" id="{D452A39C-4F1D-4DD0-B02C-6501BFDE22E3}"/>
              </a:ext>
            </a:extLst>
          </p:cNvPr>
          <p:cNvSpPr txBox="1"/>
          <p:nvPr/>
        </p:nvSpPr>
        <p:spPr>
          <a:xfrm>
            <a:off x="266308" y="99184"/>
            <a:ext cx="609442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2800" b="1" dirty="0"/>
              <a:t>Method</a:t>
            </a:r>
            <a:endParaRPr lang="zh-CN" altLang="en-US" sz="2800" b="1" dirty="0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F61529F8-70C5-480B-B3A0-3C92079B8DEA}"/>
              </a:ext>
            </a:extLst>
          </p:cNvPr>
          <p:cNvSpPr/>
          <p:nvPr/>
        </p:nvSpPr>
        <p:spPr>
          <a:xfrm>
            <a:off x="782425" y="1519720"/>
            <a:ext cx="4996206" cy="5239096"/>
          </a:xfrm>
          <a:prstGeom prst="rect">
            <a:avLst/>
          </a:prstGeom>
          <a:noFill/>
          <a:ln w="9525" cap="flat" cmpd="sng" algn="ctr">
            <a:solidFill>
              <a:schemeClr val="dk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DD43BCDC-22A6-449F-81B1-5CDDFE297C87}"/>
              </a:ext>
            </a:extLst>
          </p:cNvPr>
          <p:cNvSpPr/>
          <p:nvPr/>
        </p:nvSpPr>
        <p:spPr>
          <a:xfrm>
            <a:off x="1140643" y="1739872"/>
            <a:ext cx="4317477" cy="805365"/>
          </a:xfrm>
          <a:prstGeom prst="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b="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Manually annotate the entity of data set</a:t>
            </a:r>
          </a:p>
        </p:txBody>
      </p:sp>
      <p:sp>
        <p:nvSpPr>
          <p:cNvPr id="8" name="箭头: 下 7">
            <a:extLst>
              <a:ext uri="{FF2B5EF4-FFF2-40B4-BE49-F238E27FC236}">
                <a16:creationId xmlns:a16="http://schemas.microsoft.com/office/drawing/2014/main" id="{608726D7-1F10-4878-AE38-5D1F177A67E0}"/>
              </a:ext>
            </a:extLst>
          </p:cNvPr>
          <p:cNvSpPr/>
          <p:nvPr/>
        </p:nvSpPr>
        <p:spPr>
          <a:xfrm>
            <a:off x="3096705" y="2629325"/>
            <a:ext cx="433633" cy="301657"/>
          </a:xfrm>
          <a:prstGeom prst="downArrow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FA8A0946-761E-42EC-B923-563ACFA7483C}"/>
              </a:ext>
            </a:extLst>
          </p:cNvPr>
          <p:cNvSpPr txBox="1"/>
          <p:nvPr/>
        </p:nvSpPr>
        <p:spPr>
          <a:xfrm>
            <a:off x="252166" y="800762"/>
            <a:ext cx="609442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altLang="zh-CN" sz="1800" b="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Discovery of Topic Evolution Path Based on Semantic Similarity Among Entities</a:t>
            </a:r>
            <a:endParaRPr lang="zh-CN" altLang="en-US" dirty="0"/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96755348-6515-49AF-8280-B831210F528E}"/>
              </a:ext>
            </a:extLst>
          </p:cNvPr>
          <p:cNvSpPr/>
          <p:nvPr/>
        </p:nvSpPr>
        <p:spPr>
          <a:xfrm>
            <a:off x="1140643" y="2967085"/>
            <a:ext cx="4317477" cy="416571"/>
          </a:xfrm>
          <a:prstGeom prst="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bg1"/>
                </a:solidFill>
                <a:latin typeface="Arial" panose="020B0604020202020204" pitchFamily="34" charset="0"/>
              </a:rPr>
              <a:t>T</a:t>
            </a:r>
            <a:r>
              <a:rPr lang="en-US" altLang="zh-CN" b="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rain BiLSTM-CRF</a:t>
            </a: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125D77CC-E3C8-4269-9DDA-378467B2A54B}"/>
              </a:ext>
            </a:extLst>
          </p:cNvPr>
          <p:cNvSpPr/>
          <p:nvPr/>
        </p:nvSpPr>
        <p:spPr>
          <a:xfrm>
            <a:off x="1140643" y="3833735"/>
            <a:ext cx="4317477" cy="416571"/>
          </a:xfrm>
          <a:prstGeom prst="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bg1"/>
                </a:solidFill>
                <a:latin typeface="Arial" panose="020B0604020202020204" pitchFamily="34" charset="0"/>
              </a:rPr>
              <a:t>Extract all entities of patents </a:t>
            </a:r>
            <a:endParaRPr lang="en-US" altLang="zh-CN" b="0" i="0" dirty="0"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箭头: 下 12">
            <a:extLst>
              <a:ext uri="{FF2B5EF4-FFF2-40B4-BE49-F238E27FC236}">
                <a16:creationId xmlns:a16="http://schemas.microsoft.com/office/drawing/2014/main" id="{49FDEB9D-BA59-44F7-9722-A5EC1C6F4029}"/>
              </a:ext>
            </a:extLst>
          </p:cNvPr>
          <p:cNvSpPr/>
          <p:nvPr/>
        </p:nvSpPr>
        <p:spPr>
          <a:xfrm>
            <a:off x="3096705" y="3479492"/>
            <a:ext cx="433633" cy="301657"/>
          </a:xfrm>
          <a:prstGeom prst="downArrow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BFEFB757-D168-4265-9509-75E7016F1628}"/>
              </a:ext>
            </a:extLst>
          </p:cNvPr>
          <p:cNvSpPr/>
          <p:nvPr/>
        </p:nvSpPr>
        <p:spPr>
          <a:xfrm>
            <a:off x="1140644" y="4664867"/>
            <a:ext cx="4317476" cy="826745"/>
          </a:xfrm>
          <a:prstGeom prst="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bg1"/>
                </a:solidFill>
                <a:latin typeface="Arial" panose="020B0604020202020204" pitchFamily="34" charset="0"/>
              </a:rPr>
              <a:t>Clustering topics and get entities of each topic</a:t>
            </a:r>
          </a:p>
        </p:txBody>
      </p:sp>
      <p:sp>
        <p:nvSpPr>
          <p:cNvPr id="17" name="箭头: 下 16">
            <a:extLst>
              <a:ext uri="{FF2B5EF4-FFF2-40B4-BE49-F238E27FC236}">
                <a16:creationId xmlns:a16="http://schemas.microsoft.com/office/drawing/2014/main" id="{3982DC7D-B18B-483D-914C-04A1A0902FEB}"/>
              </a:ext>
            </a:extLst>
          </p:cNvPr>
          <p:cNvSpPr/>
          <p:nvPr/>
        </p:nvSpPr>
        <p:spPr>
          <a:xfrm>
            <a:off x="3082564" y="4331181"/>
            <a:ext cx="433633" cy="301657"/>
          </a:xfrm>
          <a:prstGeom prst="downArrow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AAA85EA9-EC07-410A-BF2D-745BE1192C99}"/>
              </a:ext>
            </a:extLst>
          </p:cNvPr>
          <p:cNvSpPr/>
          <p:nvPr/>
        </p:nvSpPr>
        <p:spPr>
          <a:xfrm>
            <a:off x="1154783" y="5840259"/>
            <a:ext cx="4317476" cy="826745"/>
          </a:xfrm>
          <a:prstGeom prst="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bg1"/>
                </a:solidFill>
                <a:latin typeface="Arial" panose="020B0604020202020204" pitchFamily="34" charset="0"/>
              </a:rPr>
              <a:t>Define five topic evolution patterns</a:t>
            </a:r>
          </a:p>
        </p:txBody>
      </p:sp>
      <p:sp>
        <p:nvSpPr>
          <p:cNvPr id="21" name="箭头: 下 20">
            <a:extLst>
              <a:ext uri="{FF2B5EF4-FFF2-40B4-BE49-F238E27FC236}">
                <a16:creationId xmlns:a16="http://schemas.microsoft.com/office/drawing/2014/main" id="{B650ADD0-2064-4412-91F8-F6B255AE2320}"/>
              </a:ext>
            </a:extLst>
          </p:cNvPr>
          <p:cNvSpPr/>
          <p:nvPr/>
        </p:nvSpPr>
        <p:spPr>
          <a:xfrm>
            <a:off x="3077850" y="5530078"/>
            <a:ext cx="433633" cy="301657"/>
          </a:xfrm>
          <a:prstGeom prst="downArrow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D4F9DF1E-AB89-4120-BAA9-896E7156E751}"/>
              </a:ext>
            </a:extLst>
          </p:cNvPr>
          <p:cNvSpPr/>
          <p:nvPr/>
        </p:nvSpPr>
        <p:spPr>
          <a:xfrm>
            <a:off x="6413371" y="1519720"/>
            <a:ext cx="4996206" cy="5239096"/>
          </a:xfrm>
          <a:prstGeom prst="rect">
            <a:avLst/>
          </a:prstGeom>
          <a:noFill/>
          <a:ln w="9525" cap="flat" cmpd="sng" algn="ctr">
            <a:solidFill>
              <a:schemeClr val="dk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C66656C4-D573-4A7F-8501-26B6ABAB93E9}"/>
              </a:ext>
            </a:extLst>
          </p:cNvPr>
          <p:cNvSpPr/>
          <p:nvPr/>
        </p:nvSpPr>
        <p:spPr>
          <a:xfrm>
            <a:off x="6771589" y="1739872"/>
            <a:ext cx="4317477" cy="805365"/>
          </a:xfrm>
          <a:prstGeom prst="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b="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predefine five types of semantic relationships among patent entities</a:t>
            </a:r>
          </a:p>
        </p:txBody>
      </p:sp>
      <p:sp>
        <p:nvSpPr>
          <p:cNvPr id="24" name="箭头: 下 23">
            <a:extLst>
              <a:ext uri="{FF2B5EF4-FFF2-40B4-BE49-F238E27FC236}">
                <a16:creationId xmlns:a16="http://schemas.microsoft.com/office/drawing/2014/main" id="{0E078725-4B47-41E5-8EB5-446D6D4F7D61}"/>
              </a:ext>
            </a:extLst>
          </p:cNvPr>
          <p:cNvSpPr/>
          <p:nvPr/>
        </p:nvSpPr>
        <p:spPr>
          <a:xfrm>
            <a:off x="8727651" y="2629325"/>
            <a:ext cx="433633" cy="301657"/>
          </a:xfrm>
          <a:prstGeom prst="downArrow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83C8FF5-6D6B-4E96-8E11-888BA6F6B097}"/>
              </a:ext>
            </a:extLst>
          </p:cNvPr>
          <p:cNvSpPr/>
          <p:nvPr/>
        </p:nvSpPr>
        <p:spPr>
          <a:xfrm>
            <a:off x="6771589" y="2967085"/>
            <a:ext cx="4317477" cy="709970"/>
          </a:xfrm>
          <a:prstGeom prst="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b="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Manually annotate the with predefined relationships</a:t>
            </a: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FFF0463E-253B-444A-BCB1-962949F9DC04}"/>
              </a:ext>
            </a:extLst>
          </p:cNvPr>
          <p:cNvSpPr/>
          <p:nvPr/>
        </p:nvSpPr>
        <p:spPr>
          <a:xfrm>
            <a:off x="6766873" y="4086979"/>
            <a:ext cx="4317477" cy="416571"/>
          </a:xfrm>
          <a:prstGeom prst="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bg1"/>
                </a:solidFill>
                <a:latin typeface="Arial" panose="020B0604020202020204" pitchFamily="34" charset="0"/>
              </a:rPr>
              <a:t>T</a:t>
            </a:r>
            <a:r>
              <a:rPr lang="en-US" altLang="zh-CN" b="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rain </a:t>
            </a:r>
            <a:r>
              <a:rPr lang="en-US" altLang="zh-CN" dirty="0">
                <a:solidFill>
                  <a:schemeClr val="bg1"/>
                </a:solidFill>
                <a:latin typeface="Arial" panose="020B0604020202020204" pitchFamily="34" charset="0"/>
              </a:rPr>
              <a:t>O</a:t>
            </a:r>
            <a:r>
              <a:rPr lang="en-US" altLang="zh-CN" b="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penNRE</a:t>
            </a: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6C73F4D1-ABCC-419A-89F9-86A67695283B}"/>
              </a:ext>
            </a:extLst>
          </p:cNvPr>
          <p:cNvSpPr/>
          <p:nvPr/>
        </p:nvSpPr>
        <p:spPr>
          <a:xfrm>
            <a:off x="6785729" y="5826294"/>
            <a:ext cx="4317476" cy="826745"/>
          </a:xfrm>
          <a:prstGeom prst="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bg1"/>
                </a:solidFill>
                <a:latin typeface="Arial" panose="020B0604020202020204" pitchFamily="34" charset="0"/>
              </a:rPr>
              <a:t>the semantic relationship between two topics is based on the semantic relationship among all pairs of entities</a:t>
            </a:r>
          </a:p>
        </p:txBody>
      </p:sp>
      <p:sp>
        <p:nvSpPr>
          <p:cNvPr id="29" name="箭头: 下 28">
            <a:extLst>
              <a:ext uri="{FF2B5EF4-FFF2-40B4-BE49-F238E27FC236}">
                <a16:creationId xmlns:a16="http://schemas.microsoft.com/office/drawing/2014/main" id="{EC7BC8F1-D5D4-4BDB-8A57-8BCFF2D8A522}"/>
              </a:ext>
            </a:extLst>
          </p:cNvPr>
          <p:cNvSpPr/>
          <p:nvPr/>
        </p:nvSpPr>
        <p:spPr>
          <a:xfrm>
            <a:off x="8727651" y="3757456"/>
            <a:ext cx="433633" cy="301657"/>
          </a:xfrm>
          <a:prstGeom prst="downArrow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21DD43A7-2EF8-42E4-AABB-6657D3190EDB}"/>
              </a:ext>
            </a:extLst>
          </p:cNvPr>
          <p:cNvSpPr/>
          <p:nvPr/>
        </p:nvSpPr>
        <p:spPr>
          <a:xfrm>
            <a:off x="6785729" y="4908864"/>
            <a:ext cx="4317476" cy="416571"/>
          </a:xfrm>
          <a:prstGeom prst="rect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solidFill>
                  <a:schemeClr val="bg1"/>
                </a:solidFill>
                <a:latin typeface="Arial" panose="020B0604020202020204" pitchFamily="34" charset="0"/>
              </a:rPr>
              <a:t>predict all relationships among entities</a:t>
            </a:r>
          </a:p>
        </p:txBody>
      </p:sp>
      <p:sp>
        <p:nvSpPr>
          <p:cNvPr id="31" name="箭头: 下 30">
            <a:extLst>
              <a:ext uri="{FF2B5EF4-FFF2-40B4-BE49-F238E27FC236}">
                <a16:creationId xmlns:a16="http://schemas.microsoft.com/office/drawing/2014/main" id="{72779243-5DD3-4C53-95A7-D140643539C2}"/>
              </a:ext>
            </a:extLst>
          </p:cNvPr>
          <p:cNvSpPr/>
          <p:nvPr/>
        </p:nvSpPr>
        <p:spPr>
          <a:xfrm>
            <a:off x="8727651" y="4574045"/>
            <a:ext cx="433633" cy="301657"/>
          </a:xfrm>
          <a:prstGeom prst="downArrow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BADBC34B-9784-43EF-9338-CA4A2379C73D}"/>
              </a:ext>
            </a:extLst>
          </p:cNvPr>
          <p:cNvSpPr txBox="1"/>
          <p:nvPr/>
        </p:nvSpPr>
        <p:spPr>
          <a:xfrm>
            <a:off x="6487999" y="884975"/>
            <a:ext cx="609442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800" b="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Discovery of Semantic Relationship Among Topics</a:t>
            </a:r>
            <a:endParaRPr lang="zh-CN" altLang="en-US" dirty="0"/>
          </a:p>
        </p:txBody>
      </p:sp>
      <p:sp>
        <p:nvSpPr>
          <p:cNvPr id="36" name="箭头: 下 35">
            <a:extLst>
              <a:ext uri="{FF2B5EF4-FFF2-40B4-BE49-F238E27FC236}">
                <a16:creationId xmlns:a16="http://schemas.microsoft.com/office/drawing/2014/main" id="{6AE99454-4E24-460F-99F7-B766A1BE4EA6}"/>
              </a:ext>
            </a:extLst>
          </p:cNvPr>
          <p:cNvSpPr/>
          <p:nvPr/>
        </p:nvSpPr>
        <p:spPr>
          <a:xfrm>
            <a:off x="8727651" y="5379249"/>
            <a:ext cx="433633" cy="301657"/>
          </a:xfrm>
          <a:prstGeom prst="downArrow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箭头: 右 36">
            <a:extLst>
              <a:ext uri="{FF2B5EF4-FFF2-40B4-BE49-F238E27FC236}">
                <a16:creationId xmlns:a16="http://schemas.microsoft.com/office/drawing/2014/main" id="{F6C1FBD7-FAE6-4F9C-B6DF-EB8D17A10AB7}"/>
              </a:ext>
            </a:extLst>
          </p:cNvPr>
          <p:cNvSpPr/>
          <p:nvPr/>
        </p:nvSpPr>
        <p:spPr>
          <a:xfrm>
            <a:off x="5622587" y="6057238"/>
            <a:ext cx="1001949" cy="421383"/>
          </a:xfrm>
          <a:prstGeom prst="rightArrow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282072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>
            <a:extLst>
              <a:ext uri="{FF2B5EF4-FFF2-40B4-BE49-F238E27FC236}">
                <a16:creationId xmlns:a16="http://schemas.microsoft.com/office/drawing/2014/main" id="{A3D9F0CA-1FCE-4AF3-8995-AB7DFE856E2E}"/>
              </a:ext>
            </a:extLst>
          </p:cNvPr>
          <p:cNvSpPr txBox="1"/>
          <p:nvPr/>
        </p:nvSpPr>
        <p:spPr>
          <a:xfrm>
            <a:off x="266308" y="99184"/>
            <a:ext cx="609442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2800" b="1" dirty="0"/>
              <a:t>Main Result</a:t>
            </a:r>
            <a:endParaRPr lang="zh-CN" altLang="en-US" sz="2800" b="1" dirty="0"/>
          </a:p>
        </p:txBody>
      </p:sp>
      <p:graphicFrame>
        <p:nvGraphicFramePr>
          <p:cNvPr id="8" name="表格 7">
            <a:extLst>
              <a:ext uri="{FF2B5EF4-FFF2-40B4-BE49-F238E27FC236}">
                <a16:creationId xmlns:a16="http://schemas.microsoft.com/office/drawing/2014/main" id="{F2B4DCD2-EE52-439B-A3FE-C04A10ADC9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565405"/>
              </p:ext>
            </p:extLst>
          </p:nvPr>
        </p:nvGraphicFramePr>
        <p:xfrm>
          <a:off x="266308" y="1935805"/>
          <a:ext cx="11533343" cy="415465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92359">
                  <a:extLst>
                    <a:ext uri="{9D8B030D-6E8A-4147-A177-3AD203B41FA5}">
                      <a16:colId xmlns:a16="http://schemas.microsoft.com/office/drawing/2014/main" val="3569320262"/>
                    </a:ext>
                  </a:extLst>
                </a:gridCol>
                <a:gridCol w="1305123">
                  <a:extLst>
                    <a:ext uri="{9D8B030D-6E8A-4147-A177-3AD203B41FA5}">
                      <a16:colId xmlns:a16="http://schemas.microsoft.com/office/drawing/2014/main" val="3670464387"/>
                    </a:ext>
                  </a:extLst>
                </a:gridCol>
                <a:gridCol w="1305123">
                  <a:extLst>
                    <a:ext uri="{9D8B030D-6E8A-4147-A177-3AD203B41FA5}">
                      <a16:colId xmlns:a16="http://schemas.microsoft.com/office/drawing/2014/main" val="3212438476"/>
                    </a:ext>
                  </a:extLst>
                </a:gridCol>
                <a:gridCol w="1305123">
                  <a:extLst>
                    <a:ext uri="{9D8B030D-6E8A-4147-A177-3AD203B41FA5}">
                      <a16:colId xmlns:a16="http://schemas.microsoft.com/office/drawing/2014/main" val="4292150127"/>
                    </a:ext>
                  </a:extLst>
                </a:gridCol>
                <a:gridCol w="1305123">
                  <a:extLst>
                    <a:ext uri="{9D8B030D-6E8A-4147-A177-3AD203B41FA5}">
                      <a16:colId xmlns:a16="http://schemas.microsoft.com/office/drawing/2014/main" val="1116575386"/>
                    </a:ext>
                  </a:extLst>
                </a:gridCol>
                <a:gridCol w="1305123">
                  <a:extLst>
                    <a:ext uri="{9D8B030D-6E8A-4147-A177-3AD203B41FA5}">
                      <a16:colId xmlns:a16="http://schemas.microsoft.com/office/drawing/2014/main" val="164591004"/>
                    </a:ext>
                  </a:extLst>
                </a:gridCol>
                <a:gridCol w="1305123">
                  <a:extLst>
                    <a:ext uri="{9D8B030D-6E8A-4147-A177-3AD203B41FA5}">
                      <a16:colId xmlns:a16="http://schemas.microsoft.com/office/drawing/2014/main" val="752500290"/>
                    </a:ext>
                  </a:extLst>
                </a:gridCol>
                <a:gridCol w="1305123">
                  <a:extLst>
                    <a:ext uri="{9D8B030D-6E8A-4147-A177-3AD203B41FA5}">
                      <a16:colId xmlns:a16="http://schemas.microsoft.com/office/drawing/2014/main" val="3355880188"/>
                    </a:ext>
                  </a:extLst>
                </a:gridCol>
                <a:gridCol w="1305123">
                  <a:extLst>
                    <a:ext uri="{9D8B030D-6E8A-4147-A177-3AD203B41FA5}">
                      <a16:colId xmlns:a16="http://schemas.microsoft.com/office/drawing/2014/main" val="3031315637"/>
                    </a:ext>
                  </a:extLst>
                </a:gridCol>
              </a:tblGrid>
              <a:tr h="486383"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zh-CN" sz="1800" dirty="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600" dirty="0">
                          <a:effectLst/>
                        </a:rPr>
                        <a:t>T0</a:t>
                      </a:r>
                      <a:r>
                        <a:rPr lang="en-US" sz="1600" baseline="-25000" dirty="0">
                          <a:effectLst/>
                        </a:rPr>
                        <a:t>(t2)</a:t>
                      </a:r>
                      <a:endParaRPr lang="zh-CN" sz="2000" dirty="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600">
                          <a:effectLst/>
                        </a:rPr>
                        <a:t>T1</a:t>
                      </a:r>
                      <a:r>
                        <a:rPr lang="en-US" sz="1600" baseline="-25000">
                          <a:effectLst/>
                        </a:rPr>
                        <a:t>(t2)</a:t>
                      </a:r>
                      <a:endParaRPr lang="zh-CN" sz="200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600">
                          <a:effectLst/>
                        </a:rPr>
                        <a:t>T2</a:t>
                      </a:r>
                      <a:r>
                        <a:rPr lang="en-US" sz="1600" baseline="-25000">
                          <a:effectLst/>
                        </a:rPr>
                        <a:t>(t2)</a:t>
                      </a:r>
                      <a:endParaRPr lang="zh-CN" sz="200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600">
                          <a:effectLst/>
                        </a:rPr>
                        <a:t>T3</a:t>
                      </a:r>
                      <a:r>
                        <a:rPr lang="en-US" sz="1600" baseline="-25000">
                          <a:effectLst/>
                        </a:rPr>
                        <a:t>(t2)</a:t>
                      </a:r>
                      <a:endParaRPr lang="zh-CN" sz="200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600">
                          <a:effectLst/>
                        </a:rPr>
                        <a:t>T4</a:t>
                      </a:r>
                      <a:r>
                        <a:rPr lang="en-US" sz="1600" baseline="-25000">
                          <a:effectLst/>
                        </a:rPr>
                        <a:t>(t2)</a:t>
                      </a:r>
                      <a:endParaRPr lang="zh-CN" sz="200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600">
                          <a:effectLst/>
                        </a:rPr>
                        <a:t>T5</a:t>
                      </a:r>
                      <a:r>
                        <a:rPr lang="en-US" sz="1600" baseline="-25000">
                          <a:effectLst/>
                        </a:rPr>
                        <a:t>(t2)</a:t>
                      </a:r>
                      <a:endParaRPr lang="zh-CN" sz="200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600">
                          <a:effectLst/>
                        </a:rPr>
                        <a:t>T6</a:t>
                      </a:r>
                      <a:r>
                        <a:rPr lang="en-US" sz="1600" baseline="-25000">
                          <a:effectLst/>
                        </a:rPr>
                        <a:t>(t2)</a:t>
                      </a:r>
                      <a:endParaRPr lang="zh-CN" sz="200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600">
                          <a:effectLst/>
                        </a:rPr>
                        <a:t>T7</a:t>
                      </a:r>
                      <a:r>
                        <a:rPr lang="en-US" sz="1600" baseline="-25000">
                          <a:effectLst/>
                        </a:rPr>
                        <a:t>(t2)</a:t>
                      </a:r>
                      <a:endParaRPr lang="zh-CN" sz="200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866889189"/>
                  </a:ext>
                </a:extLst>
              </a:tr>
              <a:tr h="466468"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600">
                          <a:effectLst/>
                        </a:rPr>
                        <a:t>T0</a:t>
                      </a:r>
                      <a:r>
                        <a:rPr lang="en-US" sz="1600" baseline="-25000">
                          <a:effectLst/>
                        </a:rPr>
                        <a:t>(t1)</a:t>
                      </a:r>
                      <a:endParaRPr lang="zh-CN" sz="200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600">
                          <a:effectLst/>
                        </a:rPr>
                        <a:t> </a:t>
                      </a:r>
                      <a:endParaRPr lang="zh-CN" sz="200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600">
                          <a:effectLst/>
                        </a:rPr>
                        <a:t> </a:t>
                      </a:r>
                      <a:endParaRPr lang="zh-CN" sz="200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altLang="zh-CN" sz="1600" dirty="0">
                          <a:effectLst/>
                        </a:rPr>
                        <a:t>Efficacy relationship</a:t>
                      </a:r>
                      <a:endParaRPr lang="zh-CN" sz="2000" dirty="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600">
                          <a:effectLst/>
                        </a:rPr>
                        <a:t> </a:t>
                      </a:r>
                      <a:endParaRPr lang="zh-CN" sz="200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600">
                          <a:effectLst/>
                        </a:rPr>
                        <a:t> </a:t>
                      </a:r>
                      <a:endParaRPr lang="zh-CN" sz="200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altLang="zh-CN" sz="1600" dirty="0">
                          <a:effectLst/>
                        </a:rPr>
                        <a:t>Efficacy relationship</a:t>
                      </a:r>
                      <a:endParaRPr lang="zh-CN" sz="2000" dirty="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600">
                          <a:effectLst/>
                        </a:rPr>
                        <a:t> </a:t>
                      </a:r>
                      <a:endParaRPr lang="zh-CN" sz="200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600">
                          <a:effectLst/>
                        </a:rPr>
                        <a:t> </a:t>
                      </a:r>
                      <a:endParaRPr lang="zh-CN" sz="200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522002436"/>
                  </a:ext>
                </a:extLst>
              </a:tr>
              <a:tr h="466468"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600">
                          <a:effectLst/>
                        </a:rPr>
                        <a:t>T1</a:t>
                      </a:r>
                      <a:r>
                        <a:rPr lang="en-US" sz="1600" baseline="-25000">
                          <a:effectLst/>
                        </a:rPr>
                        <a:t>(t1)</a:t>
                      </a:r>
                      <a:endParaRPr lang="zh-CN" sz="200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altLang="zh-CN" sz="1600" dirty="0">
                          <a:effectLst/>
                        </a:rPr>
                        <a:t>Mechanical relationship</a:t>
                      </a:r>
                      <a:endParaRPr lang="zh-CN" sz="2000" dirty="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altLang="zh-CN" sz="1600" dirty="0">
                          <a:effectLst/>
                        </a:rPr>
                        <a:t>Efficacy relationship</a:t>
                      </a:r>
                      <a:endParaRPr lang="zh-CN" sz="2000" dirty="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altLang="zh-CN" sz="1600" dirty="0">
                          <a:effectLst/>
                        </a:rPr>
                        <a:t>Efficacy relationship</a:t>
                      </a:r>
                      <a:endParaRPr lang="zh-CN" sz="2000" dirty="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600">
                          <a:effectLst/>
                        </a:rPr>
                        <a:t> </a:t>
                      </a:r>
                      <a:endParaRPr lang="zh-CN" sz="200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600">
                          <a:effectLst/>
                        </a:rPr>
                        <a:t> </a:t>
                      </a:r>
                      <a:endParaRPr lang="zh-CN" sz="200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600">
                          <a:effectLst/>
                        </a:rPr>
                        <a:t> </a:t>
                      </a:r>
                      <a:endParaRPr lang="zh-CN" sz="200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600">
                          <a:effectLst/>
                        </a:rPr>
                        <a:t> </a:t>
                      </a:r>
                      <a:endParaRPr lang="zh-CN" sz="200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600">
                          <a:effectLst/>
                        </a:rPr>
                        <a:t> </a:t>
                      </a:r>
                      <a:endParaRPr lang="zh-CN" sz="200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641482467"/>
                  </a:ext>
                </a:extLst>
              </a:tr>
              <a:tr h="466468"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600">
                          <a:effectLst/>
                        </a:rPr>
                        <a:t>T2</a:t>
                      </a:r>
                      <a:r>
                        <a:rPr lang="en-US" sz="1600" baseline="-25000">
                          <a:effectLst/>
                        </a:rPr>
                        <a:t>(t1)</a:t>
                      </a:r>
                      <a:endParaRPr lang="zh-CN" sz="200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600">
                          <a:effectLst/>
                        </a:rPr>
                        <a:t> </a:t>
                      </a:r>
                      <a:endParaRPr lang="zh-CN" sz="200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altLang="zh-CN" sz="1600" dirty="0">
                          <a:effectLst/>
                        </a:rPr>
                        <a:t>Efficacy relationship</a:t>
                      </a:r>
                      <a:endParaRPr lang="zh-CN" sz="2000" dirty="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600">
                          <a:effectLst/>
                        </a:rPr>
                        <a:t> </a:t>
                      </a:r>
                      <a:endParaRPr lang="zh-CN" sz="200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altLang="zh-CN" sz="1600" dirty="0">
                          <a:effectLst/>
                        </a:rPr>
                        <a:t>Function-Area relationship</a:t>
                      </a:r>
                      <a:endParaRPr lang="zh-CN" sz="2000" dirty="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600">
                          <a:effectLst/>
                        </a:rPr>
                        <a:t> </a:t>
                      </a:r>
                      <a:endParaRPr lang="zh-CN" sz="200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600">
                          <a:effectLst/>
                        </a:rPr>
                        <a:t> </a:t>
                      </a:r>
                      <a:endParaRPr lang="zh-CN" sz="200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600">
                          <a:effectLst/>
                        </a:rPr>
                        <a:t> </a:t>
                      </a:r>
                      <a:endParaRPr lang="zh-CN" sz="200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600">
                          <a:effectLst/>
                        </a:rPr>
                        <a:t> </a:t>
                      </a:r>
                      <a:endParaRPr lang="zh-CN" sz="200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157603122"/>
                  </a:ext>
                </a:extLst>
              </a:tr>
              <a:tr h="466468"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600">
                          <a:effectLst/>
                        </a:rPr>
                        <a:t>T3</a:t>
                      </a:r>
                      <a:r>
                        <a:rPr lang="en-US" sz="1600" baseline="-25000">
                          <a:effectLst/>
                        </a:rPr>
                        <a:t>(t1)</a:t>
                      </a:r>
                      <a:endParaRPr lang="zh-CN" sz="200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altLang="zh-CN" sz="1600" dirty="0">
                          <a:effectLst/>
                        </a:rPr>
                        <a:t>Mechanical relationship</a:t>
                      </a:r>
                      <a:endParaRPr lang="zh-CN" sz="2000" dirty="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600">
                          <a:effectLst/>
                        </a:rPr>
                        <a:t> </a:t>
                      </a:r>
                      <a:endParaRPr lang="zh-CN" sz="200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600">
                          <a:effectLst/>
                        </a:rPr>
                        <a:t> </a:t>
                      </a:r>
                      <a:endParaRPr lang="zh-CN" sz="200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600">
                          <a:effectLst/>
                        </a:rPr>
                        <a:t> </a:t>
                      </a:r>
                      <a:endParaRPr lang="zh-CN" sz="200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altLang="zh-CN" sz="1600" dirty="0">
                          <a:effectLst/>
                        </a:rPr>
                        <a:t>Mechanical relationship</a:t>
                      </a:r>
                      <a:endParaRPr lang="zh-CN" sz="2000" dirty="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600">
                          <a:effectLst/>
                        </a:rPr>
                        <a:t> </a:t>
                      </a:r>
                      <a:endParaRPr lang="zh-CN" sz="200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600">
                          <a:effectLst/>
                        </a:rPr>
                        <a:t> </a:t>
                      </a:r>
                      <a:endParaRPr lang="zh-CN" sz="200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altLang="zh-CN" sz="1600" dirty="0">
                          <a:effectLst/>
                        </a:rPr>
                        <a:t>Mechanical relationship</a:t>
                      </a:r>
                      <a:endParaRPr lang="zh-CN" sz="2000" dirty="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962097"/>
                  </a:ext>
                </a:extLst>
              </a:tr>
              <a:tr h="466468"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600">
                          <a:effectLst/>
                        </a:rPr>
                        <a:t>T4</a:t>
                      </a:r>
                      <a:r>
                        <a:rPr lang="en-US" sz="1600" baseline="-25000">
                          <a:effectLst/>
                        </a:rPr>
                        <a:t>(t1)</a:t>
                      </a:r>
                      <a:endParaRPr lang="zh-CN" sz="200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600">
                          <a:effectLst/>
                        </a:rPr>
                        <a:t> </a:t>
                      </a:r>
                      <a:endParaRPr lang="zh-CN" sz="200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altLang="zh-CN" sz="1600" dirty="0">
                          <a:effectLst/>
                        </a:rPr>
                        <a:t>Efficacy relationship</a:t>
                      </a:r>
                      <a:endParaRPr lang="zh-CN" sz="2000" dirty="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600">
                          <a:effectLst/>
                        </a:rPr>
                        <a:t> </a:t>
                      </a:r>
                      <a:endParaRPr lang="zh-CN" sz="200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600">
                          <a:effectLst/>
                        </a:rPr>
                        <a:t> </a:t>
                      </a:r>
                      <a:endParaRPr lang="zh-CN" sz="200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600">
                          <a:effectLst/>
                        </a:rPr>
                        <a:t> </a:t>
                      </a:r>
                      <a:endParaRPr lang="zh-CN" sz="200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600">
                          <a:effectLst/>
                        </a:rPr>
                        <a:t> </a:t>
                      </a:r>
                      <a:endParaRPr lang="zh-CN" sz="200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altLang="zh-CN" sz="1600" dirty="0">
                          <a:effectLst/>
                        </a:rPr>
                        <a:t>Efficacy relationship</a:t>
                      </a:r>
                      <a:endParaRPr lang="zh-CN" sz="2000" dirty="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600">
                          <a:effectLst/>
                        </a:rPr>
                        <a:t> </a:t>
                      </a:r>
                      <a:endParaRPr lang="zh-CN" sz="200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244546776"/>
                  </a:ext>
                </a:extLst>
              </a:tr>
              <a:tr h="466468"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600">
                          <a:effectLst/>
                        </a:rPr>
                        <a:t>T5</a:t>
                      </a:r>
                      <a:r>
                        <a:rPr lang="en-US" sz="1600" baseline="-25000">
                          <a:effectLst/>
                        </a:rPr>
                        <a:t>(t1)</a:t>
                      </a:r>
                      <a:endParaRPr lang="zh-CN" sz="200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600">
                          <a:effectLst/>
                        </a:rPr>
                        <a:t> </a:t>
                      </a:r>
                      <a:endParaRPr lang="zh-CN" sz="200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600">
                          <a:effectLst/>
                        </a:rPr>
                        <a:t> </a:t>
                      </a:r>
                      <a:endParaRPr lang="zh-CN" sz="200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600">
                          <a:effectLst/>
                        </a:rPr>
                        <a:t> </a:t>
                      </a:r>
                      <a:endParaRPr lang="zh-CN" sz="200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altLang="zh-CN" sz="1600" dirty="0">
                          <a:effectLst/>
                        </a:rPr>
                        <a:t>Function-Area relationship</a:t>
                      </a:r>
                      <a:endParaRPr lang="zh-CN" sz="2000" dirty="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600" dirty="0">
                          <a:effectLst/>
                        </a:rPr>
                        <a:t> </a:t>
                      </a:r>
                      <a:endParaRPr lang="zh-CN" sz="2000" dirty="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altLang="zh-CN" sz="1600" dirty="0">
                          <a:effectLst/>
                        </a:rPr>
                        <a:t>Function-Area relationship</a:t>
                      </a:r>
                      <a:endParaRPr lang="zh-CN" sz="2000" dirty="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600">
                          <a:effectLst/>
                        </a:rPr>
                        <a:t> </a:t>
                      </a:r>
                      <a:endParaRPr lang="zh-CN" sz="200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en-US" sz="1600" dirty="0">
                          <a:effectLst/>
                        </a:rPr>
                        <a:t> </a:t>
                      </a:r>
                      <a:endParaRPr lang="zh-CN" sz="2000" dirty="0">
                        <a:effectLst/>
                        <a:latin typeface="Linux Liberti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495696524"/>
                  </a:ext>
                </a:extLst>
              </a:tr>
            </a:tbl>
          </a:graphicData>
        </a:graphic>
      </p:graphicFrame>
      <p:sp>
        <p:nvSpPr>
          <p:cNvPr id="5" name="文本框 4">
            <a:extLst>
              <a:ext uri="{FF2B5EF4-FFF2-40B4-BE49-F238E27FC236}">
                <a16:creationId xmlns:a16="http://schemas.microsoft.com/office/drawing/2014/main" id="{4CA10D4C-E198-48E6-A63D-0260138D967C}"/>
              </a:ext>
            </a:extLst>
          </p:cNvPr>
          <p:cNvSpPr txBox="1"/>
          <p:nvPr/>
        </p:nvSpPr>
        <p:spPr>
          <a:xfrm>
            <a:off x="266308" y="943659"/>
            <a:ext cx="609437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 The results are obtained from 2015-2016 as an exampl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971035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4875586" y="1130301"/>
            <a:ext cx="5828425" cy="1678888"/>
          </a:xfrm>
        </p:spPr>
        <p:txBody>
          <a:bodyPr/>
          <a:lstStyle/>
          <a:p>
            <a:r>
              <a:rPr lang="en-US" altLang="zh-CN" sz="8800" dirty="0">
                <a:latin typeface="Impact" panose="020B0806030902050204" pitchFamily="34" charset="0"/>
              </a:rPr>
              <a:t>Th</a:t>
            </a:r>
            <a:r>
              <a:rPr lang="en-US" altLang="zh-CN" sz="8800" dirty="0">
                <a:solidFill>
                  <a:schemeClr val="accent2"/>
                </a:solidFill>
                <a:latin typeface="Impact" panose="020B0806030902050204" pitchFamily="34" charset="0"/>
              </a:rPr>
              <a:t>a</a:t>
            </a:r>
            <a:r>
              <a:rPr lang="en-US" altLang="zh-CN" sz="8800" dirty="0">
                <a:latin typeface="Impact" panose="020B0806030902050204" pitchFamily="34" charset="0"/>
              </a:rPr>
              <a:t>nk</a:t>
            </a:r>
            <a:r>
              <a:rPr lang="en-US" altLang="zh-CN" sz="8800" dirty="0">
                <a:solidFill>
                  <a:schemeClr val="accent2"/>
                </a:solidFill>
                <a:latin typeface="Impact" panose="020B0806030902050204" pitchFamily="34" charset="0"/>
              </a:rPr>
              <a:t>s</a:t>
            </a:r>
            <a:r>
              <a:rPr lang="en-US" altLang="zh-CN" sz="100" dirty="0">
                <a:solidFill>
                  <a:schemeClr val="accent2"/>
                </a:solidFill>
                <a:latin typeface="Impact" panose="020B0806030902050204" pitchFamily="34" charset="0"/>
              </a:rPr>
              <a:t> </a:t>
            </a:r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>
          <a:xfrm>
            <a:off x="4632194" y="4620078"/>
            <a:ext cx="5922116" cy="443922"/>
          </a:xfrm>
        </p:spPr>
        <p:txBody>
          <a:bodyPr>
            <a:normAutofit/>
          </a:bodyPr>
          <a:lstStyle/>
          <a:p>
            <a:r>
              <a:rPr lang="en-US" altLang="zh-CN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Linqi Jiang:</a:t>
            </a:r>
            <a:r>
              <a:rPr lang="en-US" altLang="zh-CN" sz="2000" strike="noStrike" dirty="0">
                <a:solidFill>
                  <a:srgbClr val="0808B8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hlinkClick r:id="rId8"/>
              </a:rPr>
              <a:t> </a:t>
            </a:r>
            <a:r>
              <a:rPr lang="en-US" altLang="zh-CN" sz="2000" dirty="0">
                <a:solidFill>
                  <a:srgbClr val="0808B8"/>
                </a:solidFill>
                <a:latin typeface="Times New Roman" panose="02020603050405020304" pitchFamily="18" charset="0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ufi_jiang@163.com</a:t>
            </a:r>
            <a:endParaRPr lang="en-US" altLang="en-US" sz="2000" dirty="0">
              <a:solidFill>
                <a:srgbClr val="0808B8"/>
              </a:solidFill>
              <a:latin typeface="Times New Roman" panose="02020603050405020304" pitchFamily="18" charset="0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4632196" y="3826851"/>
            <a:ext cx="5922114" cy="443922"/>
          </a:xfrm>
        </p:spPr>
        <p:txBody>
          <a:bodyPr/>
          <a:lstStyle/>
          <a:p>
            <a:r>
              <a:rPr lang="en-US" altLang="zh-CN" sz="20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Jinzhu Zhang:</a:t>
            </a:r>
            <a:r>
              <a:rPr lang="en-US" altLang="zh-CN" sz="2000" dirty="0">
                <a:solidFill>
                  <a:srgbClr val="0808B8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 zhangjinzhu@njust.edu.cn</a:t>
            </a:r>
            <a:endParaRPr lang="zh-CN" altLang="en-US" sz="2000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Office 主题​​">
  <a:themeElements>
    <a:clrScheme name="Office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4276AA"/>
      </a:accent1>
      <a:accent2>
        <a:srgbClr val="1689A0"/>
      </a:accent2>
      <a:accent3>
        <a:srgbClr val="3FA692"/>
      </a:accent3>
      <a:accent4>
        <a:srgbClr val="5167A4"/>
      </a:accent4>
      <a:accent5>
        <a:srgbClr val="5E5CA2"/>
      </a:accent5>
      <a:accent6>
        <a:srgbClr val="768395"/>
      </a:accent6>
      <a:hlink>
        <a:srgbClr val="4276AA"/>
      </a:hlink>
      <a:folHlink>
        <a:srgbClr val="BFBFBF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rgbClr val="000000"/>
    </a:dk1>
    <a:lt1>
      <a:srgbClr val="FFFFFF"/>
    </a:lt1>
    <a:dk2>
      <a:srgbClr val="768395"/>
    </a:dk2>
    <a:lt2>
      <a:srgbClr val="F0F0F0"/>
    </a:lt2>
    <a:accent1>
      <a:srgbClr val="4276AA"/>
    </a:accent1>
    <a:accent2>
      <a:srgbClr val="1689A0"/>
    </a:accent2>
    <a:accent3>
      <a:srgbClr val="3FA692"/>
    </a:accent3>
    <a:accent4>
      <a:srgbClr val="5167A4"/>
    </a:accent4>
    <a:accent5>
      <a:srgbClr val="5E5CA2"/>
    </a:accent5>
    <a:accent6>
      <a:srgbClr val="768395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Office">
    <a:dk1>
      <a:srgbClr val="000000"/>
    </a:dk1>
    <a:lt1>
      <a:srgbClr val="FFFFFF"/>
    </a:lt1>
    <a:dk2>
      <a:srgbClr val="768395"/>
    </a:dk2>
    <a:lt2>
      <a:srgbClr val="F0F0F0"/>
    </a:lt2>
    <a:accent1>
      <a:srgbClr val="4276AA"/>
    </a:accent1>
    <a:accent2>
      <a:srgbClr val="1689A0"/>
    </a:accent2>
    <a:accent3>
      <a:srgbClr val="3FA692"/>
    </a:accent3>
    <a:accent4>
      <a:srgbClr val="5167A4"/>
    </a:accent4>
    <a:accent5>
      <a:srgbClr val="5E5CA2"/>
    </a:accent5>
    <a:accent6>
      <a:srgbClr val="768395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Office">
    <a:dk1>
      <a:srgbClr val="000000"/>
    </a:dk1>
    <a:lt1>
      <a:srgbClr val="FFFFFF"/>
    </a:lt1>
    <a:dk2>
      <a:srgbClr val="768395"/>
    </a:dk2>
    <a:lt2>
      <a:srgbClr val="F0F0F0"/>
    </a:lt2>
    <a:accent1>
      <a:srgbClr val="4276AA"/>
    </a:accent1>
    <a:accent2>
      <a:srgbClr val="1689A0"/>
    </a:accent2>
    <a:accent3>
      <a:srgbClr val="3FA692"/>
    </a:accent3>
    <a:accent4>
      <a:srgbClr val="5167A4"/>
    </a:accent4>
    <a:accent5>
      <a:srgbClr val="5E5CA2"/>
    </a:accent5>
    <a:accent6>
      <a:srgbClr val="768395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504</TotalTime>
  <Words>398</Words>
  <Application>Microsoft Office PowerPoint</Application>
  <PresentationFormat>宽屏</PresentationFormat>
  <Paragraphs>106</Paragraphs>
  <Slides>5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5</vt:i4>
      </vt:variant>
    </vt:vector>
  </HeadingPairs>
  <TitlesOfParts>
    <vt:vector size="15" baseType="lpstr">
      <vt:lpstr>Linux Biolinum</vt:lpstr>
      <vt:lpstr>Linux Libertine</vt:lpstr>
      <vt:lpstr>MS Gothic</vt:lpstr>
      <vt:lpstr>等线</vt:lpstr>
      <vt:lpstr>等线 Light</vt:lpstr>
      <vt:lpstr>Arial</vt:lpstr>
      <vt:lpstr>Impact</vt:lpstr>
      <vt:lpstr>Times New Roman</vt:lpstr>
      <vt:lpstr>Office 主题​​</vt:lpstr>
      <vt:lpstr>think-cell Slide</vt:lpstr>
      <vt:lpstr>PowerPoint 演示文稿</vt:lpstr>
      <vt:lpstr>PowerPoint 演示文稿</vt:lpstr>
      <vt:lpstr>PowerPoint 演示文稿</vt:lpstr>
      <vt:lpstr>PowerPoint 演示文稿</vt:lpstr>
      <vt:lpstr>Thanks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蒋 霖琪</dc:creator>
  <cp:lastModifiedBy>蒋 霖琪</cp:lastModifiedBy>
  <cp:revision>7</cp:revision>
  <dcterms:created xsi:type="dcterms:W3CDTF">2021-09-22T09:07:32Z</dcterms:created>
  <dcterms:modified xsi:type="dcterms:W3CDTF">2021-09-23T16:35:30Z</dcterms:modified>
</cp:coreProperties>
</file>